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4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5C4824-B771-4AFA-9970-0592CD2A8009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9B8E5F36-1EE9-45C8-A640-27EE6BEF5368}">
      <dgm:prSet phldrT="[Text]"/>
      <dgm:spPr/>
      <dgm:t>
        <a:bodyPr/>
        <a:lstStyle/>
        <a:p>
          <a:r>
            <a:rPr lang="en-US" dirty="0"/>
            <a:t>IT Director</a:t>
          </a:r>
        </a:p>
      </dgm:t>
    </dgm:pt>
    <dgm:pt modelId="{B593A91E-8844-4E73-9DC7-52855BFE0D7E}" type="parTrans" cxnId="{198DC359-0727-4530-AE04-9C62CC91FC40}">
      <dgm:prSet/>
      <dgm:spPr/>
      <dgm:t>
        <a:bodyPr/>
        <a:lstStyle/>
        <a:p>
          <a:endParaRPr lang="en-US"/>
        </a:p>
      </dgm:t>
    </dgm:pt>
    <dgm:pt modelId="{D90902B2-9384-4978-A149-9AAFFD3299B4}" type="sibTrans" cxnId="{198DC359-0727-4530-AE04-9C62CC91FC40}">
      <dgm:prSet/>
      <dgm:spPr/>
      <dgm:t>
        <a:bodyPr/>
        <a:lstStyle/>
        <a:p>
          <a:endParaRPr lang="en-GB"/>
        </a:p>
      </dgm:t>
    </dgm:pt>
    <dgm:pt modelId="{A93202A1-CE4D-4BC9-BA78-7650E7C04C8E}">
      <dgm:prSet phldrT="[Text]"/>
      <dgm:spPr/>
      <dgm:t>
        <a:bodyPr/>
        <a:lstStyle/>
        <a:p>
          <a:r>
            <a:rPr lang="en-US" dirty="0"/>
            <a:t>AD Operations</a:t>
          </a:r>
        </a:p>
      </dgm:t>
    </dgm:pt>
    <dgm:pt modelId="{8AD62688-957D-43A9-8FE6-24CA2FD22824}" type="sibTrans" cxnId="{30BC5B59-8217-4D91-A9DD-E3C950C9E1A5}">
      <dgm:prSet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endParaRPr lang="en-GB"/>
        </a:p>
      </dgm:t>
    </dgm:pt>
    <dgm:pt modelId="{D4CC20A5-0263-4C1E-BD2D-03EE3D076370}" type="parTrans" cxnId="{30BC5B59-8217-4D91-A9DD-E3C950C9E1A5}">
      <dgm:prSet/>
      <dgm:spPr/>
      <dgm:t>
        <a:bodyPr/>
        <a:lstStyle/>
        <a:p>
          <a:endParaRPr lang="en-GB"/>
        </a:p>
      </dgm:t>
    </dgm:pt>
    <dgm:pt modelId="{F2DCD629-1E4F-4956-840B-35D08E96CDCD}">
      <dgm:prSet phldrT="[Text]"/>
      <dgm:spPr/>
      <dgm:t>
        <a:bodyPr/>
        <a:lstStyle/>
        <a:p>
          <a:r>
            <a:rPr lang="en-US" dirty="0"/>
            <a:t>Director of Norman</a:t>
          </a:r>
        </a:p>
      </dgm:t>
    </dgm:pt>
    <dgm:pt modelId="{4D209FE0-D477-42B5-8E58-A7C9F9650C3A}" type="parTrans" cxnId="{C2803B37-E107-4739-9CFB-2323073328A1}">
      <dgm:prSet/>
      <dgm:spPr/>
      <dgm:t>
        <a:bodyPr/>
        <a:lstStyle/>
        <a:p>
          <a:endParaRPr lang="en-GB"/>
        </a:p>
      </dgm:t>
    </dgm:pt>
    <dgm:pt modelId="{F11FA2F2-F85F-4FE8-9C8A-A6DCED5A5D09}" type="sibTrans" cxnId="{C2803B37-E107-4739-9CFB-2323073328A1}">
      <dgm:prSet/>
      <dgm:spPr/>
      <dgm:t>
        <a:bodyPr/>
        <a:lstStyle/>
        <a:p>
          <a:endParaRPr lang="en-GB"/>
        </a:p>
      </dgm:t>
    </dgm:pt>
    <dgm:pt modelId="{D1DB8F1C-1274-466D-88FA-AB5DF2081545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Architecture &amp; Governance</a:t>
          </a:r>
        </a:p>
      </dgm:t>
    </dgm:pt>
    <dgm:pt modelId="{CA1943AE-2D36-4200-80AB-B1E9659A06D8}" type="parTrans" cxnId="{105C575E-5B7D-4E5A-AD4B-01E6462997C3}">
      <dgm:prSet/>
      <dgm:spPr/>
      <dgm:t>
        <a:bodyPr/>
        <a:lstStyle/>
        <a:p>
          <a:endParaRPr lang="en-GB"/>
        </a:p>
      </dgm:t>
    </dgm:pt>
    <dgm:pt modelId="{B6E76378-3E47-40DB-886A-EFB9E2003F24}" type="sibTrans" cxnId="{105C575E-5B7D-4E5A-AD4B-01E6462997C3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DD07F746-CF3B-477D-80EB-3BD98C0A7859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Networks</a:t>
          </a:r>
        </a:p>
      </dgm:t>
    </dgm:pt>
    <dgm:pt modelId="{72AE1587-3B82-46F6-BEC2-CF26023F62BD}" type="parTrans" cxnId="{242AB77F-42B8-4B31-91C4-D640312D6622}">
      <dgm:prSet/>
      <dgm:spPr/>
      <dgm:t>
        <a:bodyPr/>
        <a:lstStyle/>
        <a:p>
          <a:endParaRPr lang="en-GB"/>
        </a:p>
      </dgm:t>
    </dgm:pt>
    <dgm:pt modelId="{CD19691B-7248-4BB5-8856-CDB5DB9A3F2F}" type="sibTrans" cxnId="{242AB77F-42B8-4B31-91C4-D640312D6622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53EB81D0-25B0-456A-8879-D1D96A5BFF7A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Norman Service Desk</a:t>
          </a:r>
        </a:p>
      </dgm:t>
    </dgm:pt>
    <dgm:pt modelId="{B1117BAA-870F-413A-809C-9CF780F2B148}" type="parTrans" cxnId="{FA285D21-4879-48E0-AB82-FD15405182CC}">
      <dgm:prSet/>
      <dgm:spPr/>
      <dgm:t>
        <a:bodyPr/>
        <a:lstStyle/>
        <a:p>
          <a:endParaRPr lang="en-GB"/>
        </a:p>
      </dgm:t>
    </dgm:pt>
    <dgm:pt modelId="{3A94F34F-5B91-4E7C-AC15-DD87CFDC23EC}" type="sibTrans" cxnId="{FA285D21-4879-48E0-AB82-FD15405182CC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3944A31C-0531-457A-92CC-8EDE1C6BBFC6}">
      <dgm:prSet phldrT="[Text]"/>
      <dgm:spPr/>
      <dgm:t>
        <a:bodyPr/>
        <a:lstStyle/>
        <a:p>
          <a:r>
            <a:rPr lang="en-US" dirty="0"/>
            <a:t>AD Service Delivery</a:t>
          </a:r>
        </a:p>
      </dgm:t>
    </dgm:pt>
    <dgm:pt modelId="{FA8CF6DF-C964-41AE-944A-5C20FF2E5240}" type="parTrans" cxnId="{7A5FB39B-E728-45F6-8AED-A02BF2338821}">
      <dgm:prSet/>
      <dgm:spPr/>
      <dgm:t>
        <a:bodyPr/>
        <a:lstStyle/>
        <a:p>
          <a:endParaRPr lang="en-GB"/>
        </a:p>
      </dgm:t>
    </dgm:pt>
    <dgm:pt modelId="{D1397D18-FE76-44AA-8B4D-180BF18A3F4E}" type="sibTrans" cxnId="{7A5FB39B-E728-45F6-8AED-A02BF2338821}">
      <dgm:prSet/>
      <dgm:spPr/>
      <dgm:t>
        <a:bodyPr/>
        <a:lstStyle/>
        <a:p>
          <a:endParaRPr lang="en-GB"/>
        </a:p>
      </dgm:t>
    </dgm:pt>
    <dgm:pt modelId="{80C3D08C-BA48-4291-90C5-A48E93EB35B3}" type="asst">
      <dgm:prSet/>
      <dgm:spPr/>
      <dgm:t>
        <a:bodyPr vert="horz"/>
        <a:lstStyle/>
        <a:p>
          <a:r>
            <a:rPr lang="en-GB"/>
            <a:t>EA to IT Director</a:t>
          </a:r>
        </a:p>
      </dgm:t>
    </dgm:pt>
    <dgm:pt modelId="{9EAAC56C-ABB1-4ABE-9782-69B391452E7D}" type="parTrans" cxnId="{6CAA320E-D954-42FB-BF9F-7E42B9360DA3}">
      <dgm:prSet/>
      <dgm:spPr/>
      <dgm:t>
        <a:bodyPr/>
        <a:lstStyle/>
        <a:p>
          <a:endParaRPr lang="en-GB"/>
        </a:p>
      </dgm:t>
    </dgm:pt>
    <dgm:pt modelId="{9E9ADE32-5185-4B1B-9D57-5D0DB12D8A97}" type="sibTrans" cxnId="{6CAA320E-D954-42FB-BF9F-7E42B9360DA3}">
      <dgm:prSet/>
      <dgm:spPr/>
      <dgm:t>
        <a:bodyPr/>
        <a:lstStyle/>
        <a:p>
          <a:endParaRPr lang="en-GB"/>
        </a:p>
      </dgm:t>
    </dgm:pt>
    <dgm:pt modelId="{200D367A-2165-43C8-8729-16CFF9B268A5}">
      <dgm:prSet phldrT="[Text]"/>
      <dgm:spPr/>
      <dgm:t>
        <a:bodyPr vert="horz"/>
        <a:lstStyle/>
        <a:p>
          <a:r>
            <a:rPr lang="en-US" dirty="0"/>
            <a:t>AD Service Management</a:t>
          </a:r>
        </a:p>
      </dgm:t>
    </dgm:pt>
    <dgm:pt modelId="{361FB684-DD1E-4D25-92DD-B4D7B0EFB3D5}" type="parTrans" cxnId="{17FF95A2-892D-430A-897B-75E574ECBF43}">
      <dgm:prSet/>
      <dgm:spPr/>
      <dgm:t>
        <a:bodyPr/>
        <a:lstStyle/>
        <a:p>
          <a:endParaRPr lang="en-GB"/>
        </a:p>
      </dgm:t>
    </dgm:pt>
    <dgm:pt modelId="{F8BB52FF-A5ED-4039-A6E4-79B03C5CE12D}" type="sibTrans" cxnId="{17FF95A2-892D-430A-897B-75E574ECBF43}">
      <dgm:prSet/>
      <dgm:spPr/>
      <dgm:t>
        <a:bodyPr/>
        <a:lstStyle/>
        <a:p>
          <a:endParaRPr lang="en-GB"/>
        </a:p>
      </dgm:t>
    </dgm:pt>
    <dgm:pt modelId="{7BEB2808-76D2-4757-9912-20F25BEE4042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Service Desk</a:t>
          </a:r>
        </a:p>
      </dgm:t>
    </dgm:pt>
    <dgm:pt modelId="{D7054D47-298B-49C3-A912-8930EF26DAB4}" type="parTrans" cxnId="{1804ABBF-9321-4AD3-A678-DB7FCE24E085}">
      <dgm:prSet/>
      <dgm:spPr/>
      <dgm:t>
        <a:bodyPr/>
        <a:lstStyle/>
        <a:p>
          <a:endParaRPr lang="en-GB"/>
        </a:p>
      </dgm:t>
    </dgm:pt>
    <dgm:pt modelId="{EC13312B-5C38-4F8F-8F63-3F2E3D5066AB}" type="sibTrans" cxnId="{1804ABBF-9321-4AD3-A678-DB7FCE24E085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C37F06D4-C81E-480A-989F-E1D7B0240442}">
      <dgm:prSet phldrT="[Text]"/>
      <dgm:spPr/>
      <dgm:t>
        <a:bodyPr vert="horz"/>
        <a:lstStyle/>
        <a:p>
          <a:r>
            <a:rPr lang="en-US" dirty="0"/>
            <a:t>TEL Manager</a:t>
          </a:r>
        </a:p>
      </dgm:t>
    </dgm:pt>
    <dgm:pt modelId="{469A4666-6E61-4716-A87B-C8F4E731341B}" type="parTrans" cxnId="{72C77154-994F-4B27-8ACC-34E42D3D96FD}">
      <dgm:prSet/>
      <dgm:spPr/>
      <dgm:t>
        <a:bodyPr/>
        <a:lstStyle/>
        <a:p>
          <a:endParaRPr lang="en-GB"/>
        </a:p>
      </dgm:t>
    </dgm:pt>
    <dgm:pt modelId="{1F9F64C1-7192-47C6-AE68-BBF6FA1B2A42}" type="sibTrans" cxnId="{72C77154-994F-4B27-8ACC-34E42D3D96FD}">
      <dgm:prSet/>
      <dgm:spPr/>
      <dgm:t>
        <a:bodyPr/>
        <a:lstStyle/>
        <a:p>
          <a:endParaRPr lang="en-GB"/>
        </a:p>
      </dgm:t>
    </dgm:pt>
    <dgm:pt modelId="{6EA2378E-B82E-4605-9240-D5C8A38F82ED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Training</a:t>
          </a:r>
        </a:p>
      </dgm:t>
    </dgm:pt>
    <dgm:pt modelId="{3B9BFF46-864C-4EFD-9B3C-399A03985096}" type="parTrans" cxnId="{FDE09D30-CD1D-4B5E-81AF-8950538C8825}">
      <dgm:prSet/>
      <dgm:spPr/>
      <dgm:t>
        <a:bodyPr/>
        <a:lstStyle/>
        <a:p>
          <a:endParaRPr lang="en-GB"/>
        </a:p>
      </dgm:t>
    </dgm:pt>
    <dgm:pt modelId="{E228A8B7-13FD-4B49-AC22-16EF09EFCCAF}" type="sibTrans" cxnId="{FDE09D30-CD1D-4B5E-81AF-8950538C8825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881C056E-358F-4369-A895-67B9839ABDBB}">
      <dgm:prSet phldrT="[Text]"/>
      <dgm:spPr/>
      <dgm:t>
        <a:bodyPr/>
        <a:lstStyle/>
        <a:p>
          <a:r>
            <a:rPr lang="en-US"/>
            <a:t>Head of Enterprise Service Development</a:t>
          </a:r>
        </a:p>
      </dgm:t>
    </dgm:pt>
    <dgm:pt modelId="{0FC586FF-F0B2-4C5D-B7EA-832DE73AB876}" type="parTrans" cxnId="{CDF4BCB4-9BCA-4DB6-808A-2C28A84D09FB}">
      <dgm:prSet/>
      <dgm:spPr/>
      <dgm:t>
        <a:bodyPr/>
        <a:lstStyle/>
        <a:p>
          <a:endParaRPr lang="en-GB"/>
        </a:p>
      </dgm:t>
    </dgm:pt>
    <dgm:pt modelId="{2E98D8F0-866C-4B77-A907-16D2A6F6EF4B}" type="sibTrans" cxnId="{CDF4BCB4-9BCA-4DB6-808A-2C28A84D09FB}">
      <dgm:prSet/>
      <dgm:spPr/>
      <dgm:t>
        <a:bodyPr/>
        <a:lstStyle/>
        <a:p>
          <a:endParaRPr lang="en-GB"/>
        </a:p>
      </dgm:t>
    </dgm:pt>
    <dgm:pt modelId="{3AEE0ECF-74C1-4B9A-BAE8-53E0C57BA493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ServiceNow Product Owner</a:t>
          </a:r>
        </a:p>
      </dgm:t>
    </dgm:pt>
    <dgm:pt modelId="{39762767-44C1-4F0D-889A-0F1C25131481}" type="parTrans" cxnId="{8CD613CE-DC9E-441C-867D-A877283F4754}">
      <dgm:prSet/>
      <dgm:spPr/>
      <dgm:t>
        <a:bodyPr/>
        <a:lstStyle/>
        <a:p>
          <a:endParaRPr lang="en-GB"/>
        </a:p>
      </dgm:t>
    </dgm:pt>
    <dgm:pt modelId="{7A944B7E-9509-4FA7-8372-2246B21A26E9}" type="sibTrans" cxnId="{8CD613CE-DC9E-441C-867D-A877283F4754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AFDE826A-4DF7-4076-AB63-628A989BFADB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Design</a:t>
          </a:r>
        </a:p>
      </dgm:t>
    </dgm:pt>
    <dgm:pt modelId="{E399E0B0-7783-4B4C-A645-8AE602B7A728}" type="parTrans" cxnId="{74106B9F-C7A1-4805-B613-BA3F1285959B}">
      <dgm:prSet/>
      <dgm:spPr/>
      <dgm:t>
        <a:bodyPr/>
        <a:lstStyle/>
        <a:p>
          <a:endParaRPr lang="en-GB"/>
        </a:p>
      </dgm:t>
    </dgm:pt>
    <dgm:pt modelId="{89D7F9C1-E3F1-4F28-BC75-09702CDFAE9E}" type="sibTrans" cxnId="{74106B9F-C7A1-4805-B613-BA3F1285959B}">
      <dgm:prSet/>
      <dgm:spPr/>
      <dgm:t>
        <a:bodyPr/>
        <a:lstStyle/>
        <a:p>
          <a:endParaRPr lang="en-GB"/>
        </a:p>
      </dgm:t>
    </dgm:pt>
    <dgm:pt modelId="{D6BAAD51-6D9A-40E0-AD9D-B734C4FDF966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Development</a:t>
          </a:r>
        </a:p>
      </dgm:t>
    </dgm:pt>
    <dgm:pt modelId="{1EA23CB6-06C5-4CA2-9D02-5ADCA917C6C7}" type="parTrans" cxnId="{194E732D-A006-482B-BE0B-6D1C3C3E87E1}">
      <dgm:prSet/>
      <dgm:spPr/>
      <dgm:t>
        <a:bodyPr/>
        <a:lstStyle/>
        <a:p>
          <a:endParaRPr lang="en-GB"/>
        </a:p>
      </dgm:t>
    </dgm:pt>
    <dgm:pt modelId="{87A9091C-D68C-4241-BD26-69A52FDB001A}" type="sibTrans" cxnId="{194E732D-A006-482B-BE0B-6D1C3C3E87E1}">
      <dgm:prSet/>
      <dgm:spPr/>
      <dgm:t>
        <a:bodyPr/>
        <a:lstStyle/>
        <a:p>
          <a:endParaRPr lang="en-GB"/>
        </a:p>
      </dgm:t>
    </dgm:pt>
    <dgm:pt modelId="{D34F50E5-FEF8-4851-B41E-210D5389D17F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Test</a:t>
          </a:r>
        </a:p>
      </dgm:t>
    </dgm:pt>
    <dgm:pt modelId="{6C18CC18-C8A8-4E37-BF56-3D55007F9E0A}" type="parTrans" cxnId="{8ED8E1FF-342E-4564-BE6C-EDB8A5B5224A}">
      <dgm:prSet/>
      <dgm:spPr/>
      <dgm:t>
        <a:bodyPr/>
        <a:lstStyle/>
        <a:p>
          <a:endParaRPr lang="en-GB"/>
        </a:p>
      </dgm:t>
    </dgm:pt>
    <dgm:pt modelId="{8B9C5BC4-998A-4BC4-83AE-9784432184B3}" type="sibTrans" cxnId="{8ED8E1FF-342E-4564-BE6C-EDB8A5B5224A}">
      <dgm:prSet/>
      <dgm:spPr/>
      <dgm:t>
        <a:bodyPr/>
        <a:lstStyle/>
        <a:p>
          <a:endParaRPr lang="en-GB"/>
        </a:p>
      </dgm:t>
    </dgm:pt>
    <dgm:pt modelId="{4A14E33A-B702-403B-B3F6-CFE13D9EC840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Service Delivery Office</a:t>
          </a:r>
        </a:p>
      </dgm:t>
    </dgm:pt>
    <dgm:pt modelId="{40766722-5CC4-45C6-BBEB-B0A232E51BD1}" type="parTrans" cxnId="{F8E0EF46-62EF-4376-B55D-E4696D55182E}">
      <dgm:prSet/>
      <dgm:spPr/>
      <dgm:t>
        <a:bodyPr/>
        <a:lstStyle/>
        <a:p>
          <a:endParaRPr lang="en-GB"/>
        </a:p>
      </dgm:t>
    </dgm:pt>
    <dgm:pt modelId="{6DCFE13E-D83E-4BF8-B73A-EE3463BE16F2}" type="sibTrans" cxnId="{F8E0EF46-62EF-4376-B55D-E4696D55182E}">
      <dgm:prSet/>
      <dgm:spPr/>
      <dgm:t>
        <a:bodyPr/>
        <a:lstStyle/>
        <a:p>
          <a:endParaRPr lang="en-GB"/>
        </a:p>
      </dgm:t>
    </dgm:pt>
    <dgm:pt modelId="{E2585C12-F5E8-40D5-B205-17F878E8B1CD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Field Support</a:t>
          </a:r>
        </a:p>
      </dgm:t>
    </dgm:pt>
    <dgm:pt modelId="{F783B4AB-D182-4A09-B696-7538487740FA}" type="parTrans" cxnId="{7C4B2D68-87EF-4C01-AF36-17A570AA7B64}">
      <dgm:prSet/>
      <dgm:spPr/>
      <dgm:t>
        <a:bodyPr/>
        <a:lstStyle/>
        <a:p>
          <a:endParaRPr lang="en-GB"/>
        </a:p>
      </dgm:t>
    </dgm:pt>
    <dgm:pt modelId="{691F044F-32D4-44CF-869A-F64E8BBEB560}" type="sibTrans" cxnId="{7C4B2D68-87EF-4C01-AF36-17A570AA7B64}">
      <dgm:prSet/>
      <dgm:spPr/>
      <dgm:t>
        <a:bodyPr/>
        <a:lstStyle/>
        <a:p>
          <a:endParaRPr lang="en-GB"/>
        </a:p>
      </dgm:t>
    </dgm:pt>
    <dgm:pt modelId="{AE331F4A-5395-4A90-9E4D-C2321587FA20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Application Support</a:t>
          </a:r>
        </a:p>
      </dgm:t>
    </dgm:pt>
    <dgm:pt modelId="{35DE3FB7-C27A-48F0-8A0F-E44CE84CCA68}" type="parTrans" cxnId="{829B4956-F9BE-4CFB-B17E-49EADFB7F135}">
      <dgm:prSet/>
      <dgm:spPr/>
      <dgm:t>
        <a:bodyPr/>
        <a:lstStyle/>
        <a:p>
          <a:endParaRPr lang="en-GB"/>
        </a:p>
      </dgm:t>
    </dgm:pt>
    <dgm:pt modelId="{15D003E8-DE5D-4AD9-AEC4-67AD87EB51F7}" type="sibTrans" cxnId="{829B4956-F9BE-4CFB-B17E-49EADFB7F135}">
      <dgm:prSet/>
      <dgm:spPr/>
      <dgm:t>
        <a:bodyPr/>
        <a:lstStyle/>
        <a:p>
          <a:endParaRPr lang="en-GB"/>
        </a:p>
      </dgm:t>
    </dgm:pt>
    <dgm:pt modelId="{19A7B5C4-7D06-42AD-95E8-D6A498E0C1F5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Business Relationships</a:t>
          </a:r>
        </a:p>
      </dgm:t>
    </dgm:pt>
    <dgm:pt modelId="{60CB21AC-B29E-4A68-9B32-AA07A1637142}" type="parTrans" cxnId="{6AD60407-8188-497C-96EE-63B13684B67E}">
      <dgm:prSet/>
      <dgm:spPr/>
      <dgm:t>
        <a:bodyPr/>
        <a:lstStyle/>
        <a:p>
          <a:endParaRPr lang="en-GB"/>
        </a:p>
      </dgm:t>
    </dgm:pt>
    <dgm:pt modelId="{3C639E00-1076-44BD-AF65-BA8DB3EB4B47}" type="sibTrans" cxnId="{6AD60407-8188-497C-96EE-63B13684B67E}">
      <dgm:prSet/>
      <dgm:spPr/>
      <dgm:t>
        <a:bodyPr/>
        <a:lstStyle/>
        <a:p>
          <a:endParaRPr lang="en-GB"/>
        </a:p>
      </dgm:t>
    </dgm:pt>
    <dgm:pt modelId="{F78870A4-1642-477C-8D83-BB7AE2D8778F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Service Management</a:t>
          </a:r>
        </a:p>
      </dgm:t>
    </dgm:pt>
    <dgm:pt modelId="{D8143E05-927E-4F04-8D74-1A21357C3236}" type="parTrans" cxnId="{8E9DFA97-0428-4AE1-B53D-1CD6C2970CF7}">
      <dgm:prSet/>
      <dgm:spPr/>
      <dgm:t>
        <a:bodyPr/>
        <a:lstStyle/>
        <a:p>
          <a:endParaRPr lang="en-GB"/>
        </a:p>
      </dgm:t>
    </dgm:pt>
    <dgm:pt modelId="{06CB8802-10B9-4F6A-A48A-91F10CBB30B8}" type="sibTrans" cxnId="{8E9DFA97-0428-4AE1-B53D-1CD6C2970CF7}">
      <dgm:prSet/>
      <dgm:spPr/>
      <dgm:t>
        <a:bodyPr/>
        <a:lstStyle/>
        <a:p>
          <a:endParaRPr lang="en-GB"/>
        </a:p>
      </dgm:t>
    </dgm:pt>
    <dgm:pt modelId="{FF20BD5F-6797-4C2D-BEC0-4958AB9C2E6F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Server &amp; Storage</a:t>
          </a:r>
        </a:p>
      </dgm:t>
    </dgm:pt>
    <dgm:pt modelId="{3A97FC3B-2765-4AC5-88F6-41A7CFA905E8}" type="parTrans" cxnId="{49DACE3C-B6E4-40BC-990D-E1EBA7E27B12}">
      <dgm:prSet/>
      <dgm:spPr/>
      <dgm:t>
        <a:bodyPr/>
        <a:lstStyle/>
        <a:p>
          <a:endParaRPr lang="en-GB"/>
        </a:p>
      </dgm:t>
    </dgm:pt>
    <dgm:pt modelId="{FCB6AAE6-F1FE-4650-A510-3BD0CF7E8476}" type="sibTrans" cxnId="{49DACE3C-B6E4-40BC-990D-E1EBA7E27B12}">
      <dgm:prSet/>
      <dgm:spPr/>
      <dgm:t>
        <a:bodyPr/>
        <a:lstStyle/>
        <a:p>
          <a:endParaRPr lang="en-GB"/>
        </a:p>
      </dgm:t>
    </dgm:pt>
    <dgm:pt modelId="{53A1240D-363B-4BF3-B177-1603845DDCBC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Databases</a:t>
          </a:r>
        </a:p>
      </dgm:t>
    </dgm:pt>
    <dgm:pt modelId="{2BAA3F3F-3FEB-4025-AAC8-C374A2A8BD93}" type="parTrans" cxnId="{7EC5DAF9-22DB-447F-8311-0522BF4E65C5}">
      <dgm:prSet/>
      <dgm:spPr/>
      <dgm:t>
        <a:bodyPr/>
        <a:lstStyle/>
        <a:p>
          <a:endParaRPr lang="en-GB"/>
        </a:p>
      </dgm:t>
    </dgm:pt>
    <dgm:pt modelId="{C8A5F159-4651-4531-9257-9827F968F47B}" type="sibTrans" cxnId="{7EC5DAF9-22DB-447F-8311-0522BF4E65C5}">
      <dgm:prSet/>
      <dgm:spPr/>
      <dgm:t>
        <a:bodyPr/>
        <a:lstStyle/>
        <a:p>
          <a:endParaRPr lang="en-GB"/>
        </a:p>
      </dgm:t>
    </dgm:pt>
    <dgm:pt modelId="{BCD1279A-5873-4D67-86F0-776588CAF479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Client Software</a:t>
          </a:r>
        </a:p>
      </dgm:t>
    </dgm:pt>
    <dgm:pt modelId="{6A0C9252-4E80-4788-9325-461D0A5630FC}" type="parTrans" cxnId="{2D14C001-BA76-4A5A-99C6-483FB8737627}">
      <dgm:prSet/>
      <dgm:spPr/>
      <dgm:t>
        <a:bodyPr/>
        <a:lstStyle/>
        <a:p>
          <a:endParaRPr lang="en-GB"/>
        </a:p>
      </dgm:t>
    </dgm:pt>
    <dgm:pt modelId="{ACE0C828-2C79-4CB4-A9D2-96773E0061F1}" type="sibTrans" cxnId="{2D14C001-BA76-4A5A-99C6-483FB8737627}">
      <dgm:prSet/>
      <dgm:spPr/>
      <dgm:t>
        <a:bodyPr/>
        <a:lstStyle/>
        <a:p>
          <a:endParaRPr lang="en-GB"/>
        </a:p>
      </dgm:t>
    </dgm:pt>
    <dgm:pt modelId="{6E0AFFC8-C6E5-44B5-BE24-8A2CF2C55E95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Technical Architecture</a:t>
          </a:r>
        </a:p>
      </dgm:t>
    </dgm:pt>
    <dgm:pt modelId="{F6F70786-7616-4969-983A-DB65EF5965BA}" type="parTrans" cxnId="{BBA50101-3326-4C50-978E-5B268D14DB7B}">
      <dgm:prSet/>
      <dgm:spPr/>
      <dgm:t>
        <a:bodyPr/>
        <a:lstStyle/>
        <a:p>
          <a:endParaRPr lang="en-GB"/>
        </a:p>
      </dgm:t>
    </dgm:pt>
    <dgm:pt modelId="{4BBD7F6A-0992-47E8-8235-1BF1028BEF03}" type="sibTrans" cxnId="{BBA50101-3326-4C50-978E-5B268D14DB7B}">
      <dgm:prSet/>
      <dgm:spPr/>
      <dgm:t>
        <a:bodyPr/>
        <a:lstStyle/>
        <a:p>
          <a:endParaRPr lang="en-GB"/>
        </a:p>
      </dgm:t>
    </dgm:pt>
    <dgm:pt modelId="{E71431E9-C527-47EB-8E13-05A24953942C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Knowledge Management &amp; Comms</a:t>
          </a:r>
        </a:p>
      </dgm:t>
    </dgm:pt>
    <dgm:pt modelId="{617EFD01-FFFE-42A5-8E4E-71098711255E}" type="parTrans" cxnId="{3A30444C-3253-476D-9D82-7194D103D18F}">
      <dgm:prSet/>
      <dgm:spPr/>
      <dgm:t>
        <a:bodyPr/>
        <a:lstStyle/>
        <a:p>
          <a:endParaRPr lang="en-GB"/>
        </a:p>
      </dgm:t>
    </dgm:pt>
    <dgm:pt modelId="{4691692A-F939-4514-953B-4EBA4E6D3903}" type="sibTrans" cxnId="{3A30444C-3253-476D-9D82-7194D103D18F}">
      <dgm:prSet/>
      <dgm:spPr/>
      <dgm:t>
        <a:bodyPr/>
        <a:lstStyle/>
        <a:p>
          <a:endParaRPr lang="en-GB"/>
        </a:p>
      </dgm:t>
    </dgm:pt>
    <dgm:pt modelId="{343F1FF7-75AA-4639-B94D-D2CDEB90FD16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IT Security</a:t>
          </a:r>
        </a:p>
      </dgm:t>
    </dgm:pt>
    <dgm:pt modelId="{B547AD5B-F28E-494E-8F3C-F1B3EEE43438}" type="sibTrans" cxnId="{074FCEED-6869-4E15-9424-9D3644F82F35}">
      <dgm:prSet/>
      <dgm:spPr>
        <a:noFill/>
        <a:ln>
          <a:noFill/>
        </a:ln>
      </dgm:spPr>
      <dgm:t>
        <a:bodyPr/>
        <a:lstStyle/>
        <a:p>
          <a:endParaRPr lang="en-GB"/>
        </a:p>
      </dgm:t>
    </dgm:pt>
    <dgm:pt modelId="{3067244A-7976-4E46-A701-948333CB713C}" type="parTrans" cxnId="{074FCEED-6869-4E15-9424-9D3644F82F35}">
      <dgm:prSet/>
      <dgm:spPr/>
      <dgm:t>
        <a:bodyPr/>
        <a:lstStyle/>
        <a:p>
          <a:endParaRPr lang="en-GB"/>
        </a:p>
      </dgm:t>
    </dgm:pt>
    <dgm:pt modelId="{B4FA8ABA-80BA-42AF-8C76-70E49F324901}">
      <dgm:prSet phldrT="[Text]"/>
      <dgm:spPr/>
      <dgm:t>
        <a:bodyPr/>
        <a:lstStyle/>
        <a:p>
          <a:r>
            <a:rPr lang="en-US" dirty="0"/>
            <a:t>Head of Security</a:t>
          </a:r>
        </a:p>
      </dgm:t>
    </dgm:pt>
    <dgm:pt modelId="{677900F1-B05A-49C8-B481-5F9364CC1129}" type="sibTrans" cxnId="{579406AA-B1DD-4D13-B0BA-5C81A4A4644D}">
      <dgm:prSet/>
      <dgm:spPr/>
      <dgm:t>
        <a:bodyPr/>
        <a:lstStyle/>
        <a:p>
          <a:endParaRPr lang="en-GB"/>
        </a:p>
      </dgm:t>
    </dgm:pt>
    <dgm:pt modelId="{553363F7-1546-4F18-9B75-80D1CE17868E}" type="parTrans" cxnId="{579406AA-B1DD-4D13-B0BA-5C81A4A4644D}">
      <dgm:prSet/>
      <dgm:spPr/>
      <dgm:t>
        <a:bodyPr/>
        <a:lstStyle/>
        <a:p>
          <a:endParaRPr lang="en-GB"/>
        </a:p>
      </dgm:t>
    </dgm:pt>
    <dgm:pt modelId="{3E480A70-DB61-455B-B3F2-246DA7C51980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Content Development</a:t>
          </a:r>
        </a:p>
      </dgm:t>
    </dgm:pt>
    <dgm:pt modelId="{4D68F843-3FE9-4FD1-94CA-011DED783A7E}" type="parTrans" cxnId="{9DAF6C6E-341B-4B87-99EE-E7DEB47FEC8A}">
      <dgm:prSet/>
      <dgm:spPr/>
      <dgm:t>
        <a:bodyPr/>
        <a:lstStyle/>
        <a:p>
          <a:endParaRPr lang="en-GB"/>
        </a:p>
      </dgm:t>
    </dgm:pt>
    <dgm:pt modelId="{869967C6-BF7C-43CC-83A3-9B6671CB3B8B}" type="sibTrans" cxnId="{9DAF6C6E-341B-4B87-99EE-E7DEB47FEC8A}">
      <dgm:prSet/>
      <dgm:spPr/>
      <dgm:t>
        <a:bodyPr/>
        <a:lstStyle/>
        <a:p>
          <a:endParaRPr lang="en-GB"/>
        </a:p>
      </dgm:t>
    </dgm:pt>
    <dgm:pt modelId="{C6F8BAD1-62F6-4152-B44E-59BF9ABF9467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Coaching</a:t>
          </a:r>
        </a:p>
      </dgm:t>
    </dgm:pt>
    <dgm:pt modelId="{8922D300-9116-4AB0-A209-02CE19882177}" type="parTrans" cxnId="{E633D21B-03CB-4304-85A1-3D0085BD3AFA}">
      <dgm:prSet/>
      <dgm:spPr/>
      <dgm:t>
        <a:bodyPr/>
        <a:lstStyle/>
        <a:p>
          <a:endParaRPr lang="en-GB"/>
        </a:p>
      </dgm:t>
    </dgm:pt>
    <dgm:pt modelId="{62AD3073-05B7-42F8-B896-A4C486637A52}" type="sibTrans" cxnId="{E633D21B-03CB-4304-85A1-3D0085BD3AFA}">
      <dgm:prSet/>
      <dgm:spPr/>
      <dgm:t>
        <a:bodyPr/>
        <a:lstStyle/>
        <a:p>
          <a:endParaRPr lang="en-GB"/>
        </a:p>
      </dgm:t>
    </dgm:pt>
    <dgm:pt modelId="{BE4ACDA4-B29E-473C-900D-25832CA6A773}">
      <dgm:prSet phldrT="[Text]"/>
      <dgm:spPr>
        <a:ln>
          <a:prstDash val="dash"/>
        </a:ln>
      </dgm:spPr>
      <dgm:t>
        <a:bodyPr/>
        <a:lstStyle/>
        <a:p>
          <a:r>
            <a:rPr lang="en-US" i="1" dirty="0"/>
            <a:t>IT Place</a:t>
          </a:r>
        </a:p>
      </dgm:t>
    </dgm:pt>
    <dgm:pt modelId="{8D3E331E-9B54-4E8F-BA17-12217B5CA513}" type="parTrans" cxnId="{755F036E-8C94-4688-B595-F84D7EC8A36F}">
      <dgm:prSet/>
      <dgm:spPr/>
      <dgm:t>
        <a:bodyPr/>
        <a:lstStyle/>
        <a:p>
          <a:endParaRPr lang="en-GB"/>
        </a:p>
      </dgm:t>
    </dgm:pt>
    <dgm:pt modelId="{F85E0EE6-F04A-4721-9263-6E0F931F79EE}" type="sibTrans" cxnId="{755F036E-8C94-4688-B595-F84D7EC8A36F}">
      <dgm:prSet/>
      <dgm:spPr/>
      <dgm:t>
        <a:bodyPr/>
        <a:lstStyle/>
        <a:p>
          <a:endParaRPr lang="en-GB"/>
        </a:p>
      </dgm:t>
    </dgm:pt>
    <dgm:pt modelId="{B2099FD3-525B-402D-9420-2A76F94894F4}" type="pres">
      <dgm:prSet presAssocID="{BB5C4824-B771-4AFA-9970-0592CD2A800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2E0A359-25CD-4AF4-BE6D-D17D299DB5A2}" type="pres">
      <dgm:prSet presAssocID="{9B8E5F36-1EE9-45C8-A640-27EE6BEF5368}" presName="hierRoot1" presStyleCnt="0">
        <dgm:presLayoutVars>
          <dgm:hierBranch val="init"/>
        </dgm:presLayoutVars>
      </dgm:prSet>
      <dgm:spPr/>
    </dgm:pt>
    <dgm:pt modelId="{7B0DADFB-DD50-4BE7-8A83-D4C582F63AA8}" type="pres">
      <dgm:prSet presAssocID="{9B8E5F36-1EE9-45C8-A640-27EE6BEF5368}" presName="rootComposite1" presStyleCnt="0"/>
      <dgm:spPr/>
    </dgm:pt>
    <dgm:pt modelId="{E5174214-8A6F-4F8D-9321-931538E76622}" type="pres">
      <dgm:prSet presAssocID="{9B8E5F36-1EE9-45C8-A640-27EE6BEF5368}" presName="rootText1" presStyleLbl="node0" presStyleIdx="0" presStyleCnt="1">
        <dgm:presLayoutVars>
          <dgm:chPref val="3"/>
        </dgm:presLayoutVars>
      </dgm:prSet>
      <dgm:spPr/>
    </dgm:pt>
    <dgm:pt modelId="{96A67253-6ED5-4307-A085-CFC4875681D5}" type="pres">
      <dgm:prSet presAssocID="{9B8E5F36-1EE9-45C8-A640-27EE6BEF5368}" presName="rootConnector1" presStyleLbl="node1" presStyleIdx="0" presStyleCnt="0"/>
      <dgm:spPr/>
    </dgm:pt>
    <dgm:pt modelId="{7B197D1A-6162-4FEB-B154-4F7001153217}" type="pres">
      <dgm:prSet presAssocID="{9B8E5F36-1EE9-45C8-A640-27EE6BEF5368}" presName="hierChild2" presStyleCnt="0"/>
      <dgm:spPr/>
    </dgm:pt>
    <dgm:pt modelId="{E26CAFBA-14DC-42D2-8031-5C4FB32005D0}" type="pres">
      <dgm:prSet presAssocID="{FA8CF6DF-C964-41AE-944A-5C20FF2E5240}" presName="Name37" presStyleLbl="parChTrans1D2" presStyleIdx="0" presStyleCnt="8"/>
      <dgm:spPr/>
    </dgm:pt>
    <dgm:pt modelId="{3F006B3C-0E44-4764-A183-F8F4592C1DA8}" type="pres">
      <dgm:prSet presAssocID="{3944A31C-0531-457A-92CC-8EDE1C6BBFC6}" presName="hierRoot2" presStyleCnt="0">
        <dgm:presLayoutVars>
          <dgm:hierBranch val="init"/>
        </dgm:presLayoutVars>
      </dgm:prSet>
      <dgm:spPr/>
    </dgm:pt>
    <dgm:pt modelId="{34318689-128E-4246-8C6A-7FC0E9692BBC}" type="pres">
      <dgm:prSet presAssocID="{3944A31C-0531-457A-92CC-8EDE1C6BBFC6}" presName="rootComposite" presStyleCnt="0"/>
      <dgm:spPr/>
    </dgm:pt>
    <dgm:pt modelId="{5B423CE2-3EA8-451A-98BA-BA5AD19CC72C}" type="pres">
      <dgm:prSet presAssocID="{3944A31C-0531-457A-92CC-8EDE1C6BBFC6}" presName="rootText" presStyleLbl="node2" presStyleIdx="0" presStyleCnt="7">
        <dgm:presLayoutVars>
          <dgm:chPref val="3"/>
        </dgm:presLayoutVars>
      </dgm:prSet>
      <dgm:spPr/>
    </dgm:pt>
    <dgm:pt modelId="{D06E63B4-5854-4E04-8E15-37A704E376D1}" type="pres">
      <dgm:prSet presAssocID="{3944A31C-0531-457A-92CC-8EDE1C6BBFC6}" presName="rootConnector" presStyleLbl="node2" presStyleIdx="0" presStyleCnt="7"/>
      <dgm:spPr/>
    </dgm:pt>
    <dgm:pt modelId="{3A7CDDC6-DB3A-4C05-9D03-D55A7A5E721C}" type="pres">
      <dgm:prSet presAssocID="{3944A31C-0531-457A-92CC-8EDE1C6BBFC6}" presName="hierChild4" presStyleCnt="0"/>
      <dgm:spPr/>
    </dgm:pt>
    <dgm:pt modelId="{06DC0F00-0C9A-46FD-8174-E5AD753358F4}" type="pres">
      <dgm:prSet presAssocID="{CA1943AE-2D36-4200-80AB-B1E9659A06D8}" presName="Name37" presStyleLbl="parChTrans1D3" presStyleIdx="0" presStyleCnt="23"/>
      <dgm:spPr/>
    </dgm:pt>
    <dgm:pt modelId="{B58970C9-95B8-4B26-967C-A1480C04E1D5}" type="pres">
      <dgm:prSet presAssocID="{D1DB8F1C-1274-466D-88FA-AB5DF2081545}" presName="hierRoot2" presStyleCnt="0">
        <dgm:presLayoutVars>
          <dgm:hierBranch val="init"/>
        </dgm:presLayoutVars>
      </dgm:prSet>
      <dgm:spPr/>
    </dgm:pt>
    <dgm:pt modelId="{AE530367-4BA2-4F4E-B0AC-E04D91A0F935}" type="pres">
      <dgm:prSet presAssocID="{D1DB8F1C-1274-466D-88FA-AB5DF2081545}" presName="rootComposite" presStyleCnt="0"/>
      <dgm:spPr/>
    </dgm:pt>
    <dgm:pt modelId="{975F57F8-B84E-4AB1-B42B-028D56D16F0A}" type="pres">
      <dgm:prSet presAssocID="{D1DB8F1C-1274-466D-88FA-AB5DF2081545}" presName="rootText" presStyleLbl="node3" presStyleIdx="0" presStyleCnt="23">
        <dgm:presLayoutVars>
          <dgm:chPref val="3"/>
        </dgm:presLayoutVars>
      </dgm:prSet>
      <dgm:spPr/>
    </dgm:pt>
    <dgm:pt modelId="{0CB9C99B-DEFA-4966-8CF8-DA68B4784DC0}" type="pres">
      <dgm:prSet presAssocID="{D1DB8F1C-1274-466D-88FA-AB5DF2081545}" presName="rootConnector" presStyleLbl="node3" presStyleIdx="0" presStyleCnt="23"/>
      <dgm:spPr/>
    </dgm:pt>
    <dgm:pt modelId="{009FD62B-C55C-4BEC-8BA5-FA62EF70D3D9}" type="pres">
      <dgm:prSet presAssocID="{D1DB8F1C-1274-466D-88FA-AB5DF2081545}" presName="hierChild4" presStyleCnt="0"/>
      <dgm:spPr/>
    </dgm:pt>
    <dgm:pt modelId="{A09D1205-0C2E-4840-81A0-9DAB419E8674}" type="pres">
      <dgm:prSet presAssocID="{D1DB8F1C-1274-466D-88FA-AB5DF2081545}" presName="hierChild5" presStyleCnt="0"/>
      <dgm:spPr/>
    </dgm:pt>
    <dgm:pt modelId="{544D61FC-3C0B-4BE0-9499-3C7855571502}" type="pres">
      <dgm:prSet presAssocID="{40766722-5CC4-45C6-BBEB-B0A232E51BD1}" presName="Name37" presStyleLbl="parChTrans1D3" presStyleIdx="1" presStyleCnt="23"/>
      <dgm:spPr/>
    </dgm:pt>
    <dgm:pt modelId="{A1A50A46-FE8E-4EC6-BDBB-AC136E7D6B9E}" type="pres">
      <dgm:prSet presAssocID="{4A14E33A-B702-403B-B3F6-CFE13D9EC840}" presName="hierRoot2" presStyleCnt="0">
        <dgm:presLayoutVars>
          <dgm:hierBranch val="init"/>
        </dgm:presLayoutVars>
      </dgm:prSet>
      <dgm:spPr/>
    </dgm:pt>
    <dgm:pt modelId="{1994FB97-FCC0-4692-8D48-8357BB2E6507}" type="pres">
      <dgm:prSet presAssocID="{4A14E33A-B702-403B-B3F6-CFE13D9EC840}" presName="rootComposite" presStyleCnt="0"/>
      <dgm:spPr/>
    </dgm:pt>
    <dgm:pt modelId="{7C3DF0A3-8FEA-40ED-83F8-EABF46B90358}" type="pres">
      <dgm:prSet presAssocID="{4A14E33A-B702-403B-B3F6-CFE13D9EC840}" presName="rootText" presStyleLbl="node3" presStyleIdx="1" presStyleCnt="23">
        <dgm:presLayoutVars>
          <dgm:chPref val="3"/>
        </dgm:presLayoutVars>
      </dgm:prSet>
      <dgm:spPr/>
    </dgm:pt>
    <dgm:pt modelId="{EF89534B-47F8-40AD-9F38-847E29A327C4}" type="pres">
      <dgm:prSet presAssocID="{4A14E33A-B702-403B-B3F6-CFE13D9EC840}" presName="rootConnector" presStyleLbl="node3" presStyleIdx="1" presStyleCnt="23"/>
      <dgm:spPr/>
    </dgm:pt>
    <dgm:pt modelId="{E9B23E8B-30B2-49E3-99ED-0738DFDECDAB}" type="pres">
      <dgm:prSet presAssocID="{4A14E33A-B702-403B-B3F6-CFE13D9EC840}" presName="hierChild4" presStyleCnt="0"/>
      <dgm:spPr/>
    </dgm:pt>
    <dgm:pt modelId="{3939F9AC-358F-4CE2-93F5-B6B8E07FA214}" type="pres">
      <dgm:prSet presAssocID="{4A14E33A-B702-403B-B3F6-CFE13D9EC840}" presName="hierChild5" presStyleCnt="0"/>
      <dgm:spPr/>
    </dgm:pt>
    <dgm:pt modelId="{1C3D7A11-8356-43AE-9658-1D6F345305D9}" type="pres">
      <dgm:prSet presAssocID="{E399E0B0-7783-4B4C-A645-8AE602B7A728}" presName="Name37" presStyleLbl="parChTrans1D3" presStyleIdx="2" presStyleCnt="23"/>
      <dgm:spPr/>
    </dgm:pt>
    <dgm:pt modelId="{5F61BEA0-F02F-4067-8B5C-5F08A8293302}" type="pres">
      <dgm:prSet presAssocID="{AFDE826A-4DF7-4076-AB63-628A989BFADB}" presName="hierRoot2" presStyleCnt="0">
        <dgm:presLayoutVars>
          <dgm:hierBranch val="init"/>
        </dgm:presLayoutVars>
      </dgm:prSet>
      <dgm:spPr/>
    </dgm:pt>
    <dgm:pt modelId="{482C5AE0-8E11-449E-9A22-5279ADD154B9}" type="pres">
      <dgm:prSet presAssocID="{AFDE826A-4DF7-4076-AB63-628A989BFADB}" presName="rootComposite" presStyleCnt="0"/>
      <dgm:spPr/>
    </dgm:pt>
    <dgm:pt modelId="{B977E33C-0EDB-492A-B461-1CDE1588BD1F}" type="pres">
      <dgm:prSet presAssocID="{AFDE826A-4DF7-4076-AB63-628A989BFADB}" presName="rootText" presStyleLbl="node3" presStyleIdx="2" presStyleCnt="23">
        <dgm:presLayoutVars>
          <dgm:chPref val="3"/>
        </dgm:presLayoutVars>
      </dgm:prSet>
      <dgm:spPr/>
    </dgm:pt>
    <dgm:pt modelId="{FA4B6867-7D3F-4F47-98F6-0DC28610D6ED}" type="pres">
      <dgm:prSet presAssocID="{AFDE826A-4DF7-4076-AB63-628A989BFADB}" presName="rootConnector" presStyleLbl="node3" presStyleIdx="2" presStyleCnt="23"/>
      <dgm:spPr/>
    </dgm:pt>
    <dgm:pt modelId="{0792184D-099C-4450-8344-8E1D927AB3E5}" type="pres">
      <dgm:prSet presAssocID="{AFDE826A-4DF7-4076-AB63-628A989BFADB}" presName="hierChild4" presStyleCnt="0"/>
      <dgm:spPr/>
    </dgm:pt>
    <dgm:pt modelId="{D5EF22B2-387D-4D53-90E2-02818BBE0D74}" type="pres">
      <dgm:prSet presAssocID="{AFDE826A-4DF7-4076-AB63-628A989BFADB}" presName="hierChild5" presStyleCnt="0"/>
      <dgm:spPr/>
    </dgm:pt>
    <dgm:pt modelId="{BEC05370-522E-4EA7-9278-63D9BA2E3AE1}" type="pres">
      <dgm:prSet presAssocID="{1EA23CB6-06C5-4CA2-9D02-5ADCA917C6C7}" presName="Name37" presStyleLbl="parChTrans1D3" presStyleIdx="3" presStyleCnt="23"/>
      <dgm:spPr/>
    </dgm:pt>
    <dgm:pt modelId="{6A1CA1F9-ED10-4FC8-87D2-C42CF175C316}" type="pres">
      <dgm:prSet presAssocID="{D6BAAD51-6D9A-40E0-AD9D-B734C4FDF966}" presName="hierRoot2" presStyleCnt="0">
        <dgm:presLayoutVars>
          <dgm:hierBranch val="init"/>
        </dgm:presLayoutVars>
      </dgm:prSet>
      <dgm:spPr/>
    </dgm:pt>
    <dgm:pt modelId="{45C870F8-52C7-4A58-80A0-456EB2F818A8}" type="pres">
      <dgm:prSet presAssocID="{D6BAAD51-6D9A-40E0-AD9D-B734C4FDF966}" presName="rootComposite" presStyleCnt="0"/>
      <dgm:spPr/>
    </dgm:pt>
    <dgm:pt modelId="{7ED57EB1-2472-4F01-953B-811AA4FAE120}" type="pres">
      <dgm:prSet presAssocID="{D6BAAD51-6D9A-40E0-AD9D-B734C4FDF966}" presName="rootText" presStyleLbl="node3" presStyleIdx="3" presStyleCnt="23">
        <dgm:presLayoutVars>
          <dgm:chPref val="3"/>
        </dgm:presLayoutVars>
      </dgm:prSet>
      <dgm:spPr/>
    </dgm:pt>
    <dgm:pt modelId="{A4DC5E7E-7FFB-491A-A011-1EE689893E3C}" type="pres">
      <dgm:prSet presAssocID="{D6BAAD51-6D9A-40E0-AD9D-B734C4FDF966}" presName="rootConnector" presStyleLbl="node3" presStyleIdx="3" presStyleCnt="23"/>
      <dgm:spPr/>
    </dgm:pt>
    <dgm:pt modelId="{E809659A-8902-4F31-8C69-ABB59040A0DB}" type="pres">
      <dgm:prSet presAssocID="{D6BAAD51-6D9A-40E0-AD9D-B734C4FDF966}" presName="hierChild4" presStyleCnt="0"/>
      <dgm:spPr/>
    </dgm:pt>
    <dgm:pt modelId="{9089BA24-67DB-4049-9A86-3911D0503441}" type="pres">
      <dgm:prSet presAssocID="{D6BAAD51-6D9A-40E0-AD9D-B734C4FDF966}" presName="hierChild5" presStyleCnt="0"/>
      <dgm:spPr/>
    </dgm:pt>
    <dgm:pt modelId="{33506941-B4E1-473E-86D6-E1D64C16E617}" type="pres">
      <dgm:prSet presAssocID="{6C18CC18-C8A8-4E37-BF56-3D55007F9E0A}" presName="Name37" presStyleLbl="parChTrans1D3" presStyleIdx="4" presStyleCnt="23"/>
      <dgm:spPr/>
    </dgm:pt>
    <dgm:pt modelId="{0D21239E-761C-4A53-92E5-82C1CF053493}" type="pres">
      <dgm:prSet presAssocID="{D34F50E5-FEF8-4851-B41E-210D5389D17F}" presName="hierRoot2" presStyleCnt="0">
        <dgm:presLayoutVars>
          <dgm:hierBranch val="init"/>
        </dgm:presLayoutVars>
      </dgm:prSet>
      <dgm:spPr/>
    </dgm:pt>
    <dgm:pt modelId="{0CEE55FE-ED93-4BBF-A18B-8363830D4820}" type="pres">
      <dgm:prSet presAssocID="{D34F50E5-FEF8-4851-B41E-210D5389D17F}" presName="rootComposite" presStyleCnt="0"/>
      <dgm:spPr/>
    </dgm:pt>
    <dgm:pt modelId="{1DD5F1FD-8D7D-4784-9C4B-DCADAB0414DE}" type="pres">
      <dgm:prSet presAssocID="{D34F50E5-FEF8-4851-B41E-210D5389D17F}" presName="rootText" presStyleLbl="node3" presStyleIdx="4" presStyleCnt="23">
        <dgm:presLayoutVars>
          <dgm:chPref val="3"/>
        </dgm:presLayoutVars>
      </dgm:prSet>
      <dgm:spPr/>
    </dgm:pt>
    <dgm:pt modelId="{AD5C7879-5F61-4417-AEE3-E597C9F7323E}" type="pres">
      <dgm:prSet presAssocID="{D34F50E5-FEF8-4851-B41E-210D5389D17F}" presName="rootConnector" presStyleLbl="node3" presStyleIdx="4" presStyleCnt="23"/>
      <dgm:spPr/>
    </dgm:pt>
    <dgm:pt modelId="{808C55CB-8D13-45C7-BEB4-01A5339C5EC0}" type="pres">
      <dgm:prSet presAssocID="{D34F50E5-FEF8-4851-B41E-210D5389D17F}" presName="hierChild4" presStyleCnt="0"/>
      <dgm:spPr/>
    </dgm:pt>
    <dgm:pt modelId="{3A27F781-7734-437A-BAC2-F4CE2A22CC0E}" type="pres">
      <dgm:prSet presAssocID="{D34F50E5-FEF8-4851-B41E-210D5389D17F}" presName="hierChild5" presStyleCnt="0"/>
      <dgm:spPr/>
    </dgm:pt>
    <dgm:pt modelId="{08BB0504-3D6C-4825-AB7E-51EE2EB396B6}" type="pres">
      <dgm:prSet presAssocID="{3944A31C-0531-457A-92CC-8EDE1C6BBFC6}" presName="hierChild5" presStyleCnt="0"/>
      <dgm:spPr/>
    </dgm:pt>
    <dgm:pt modelId="{88C36A8A-C68D-4121-AD11-91B8B24C2507}" type="pres">
      <dgm:prSet presAssocID="{361FB684-DD1E-4D25-92DD-B4D7B0EFB3D5}" presName="Name37" presStyleLbl="parChTrans1D2" presStyleIdx="1" presStyleCnt="8"/>
      <dgm:spPr/>
    </dgm:pt>
    <dgm:pt modelId="{4EBFE106-CD91-4233-9410-89FA33745965}" type="pres">
      <dgm:prSet presAssocID="{200D367A-2165-43C8-8729-16CFF9B268A5}" presName="hierRoot2" presStyleCnt="0">
        <dgm:presLayoutVars>
          <dgm:hierBranch val="init"/>
        </dgm:presLayoutVars>
      </dgm:prSet>
      <dgm:spPr/>
    </dgm:pt>
    <dgm:pt modelId="{F32DACE8-50DA-4F7E-92BE-390E2578C02C}" type="pres">
      <dgm:prSet presAssocID="{200D367A-2165-43C8-8729-16CFF9B268A5}" presName="rootComposite" presStyleCnt="0"/>
      <dgm:spPr/>
    </dgm:pt>
    <dgm:pt modelId="{50058357-DD17-40E3-BD4C-5B6B533A28F1}" type="pres">
      <dgm:prSet presAssocID="{200D367A-2165-43C8-8729-16CFF9B268A5}" presName="rootText" presStyleLbl="node2" presStyleIdx="1" presStyleCnt="7">
        <dgm:presLayoutVars>
          <dgm:chPref val="3"/>
        </dgm:presLayoutVars>
      </dgm:prSet>
      <dgm:spPr/>
    </dgm:pt>
    <dgm:pt modelId="{21807A1A-3696-41C7-81CF-3CD5F424C793}" type="pres">
      <dgm:prSet presAssocID="{200D367A-2165-43C8-8729-16CFF9B268A5}" presName="rootConnector" presStyleLbl="node2" presStyleIdx="1" presStyleCnt="7"/>
      <dgm:spPr/>
    </dgm:pt>
    <dgm:pt modelId="{C4693BF8-18A9-4BB3-BFBF-E7BDD91DA502}" type="pres">
      <dgm:prSet presAssocID="{200D367A-2165-43C8-8729-16CFF9B268A5}" presName="hierChild4" presStyleCnt="0"/>
      <dgm:spPr/>
    </dgm:pt>
    <dgm:pt modelId="{D7E08824-7192-4473-81A9-8208719BFD7A}" type="pres">
      <dgm:prSet presAssocID="{D7054D47-298B-49C3-A912-8930EF26DAB4}" presName="Name37" presStyleLbl="parChTrans1D3" presStyleIdx="5" presStyleCnt="23"/>
      <dgm:spPr/>
    </dgm:pt>
    <dgm:pt modelId="{79A402D1-F304-4695-86AB-92E1239007C8}" type="pres">
      <dgm:prSet presAssocID="{7BEB2808-76D2-4757-9912-20F25BEE4042}" presName="hierRoot2" presStyleCnt="0">
        <dgm:presLayoutVars>
          <dgm:hierBranch val="init"/>
        </dgm:presLayoutVars>
      </dgm:prSet>
      <dgm:spPr/>
    </dgm:pt>
    <dgm:pt modelId="{B79F37C1-EA68-4797-98C7-228C1F69F73E}" type="pres">
      <dgm:prSet presAssocID="{7BEB2808-76D2-4757-9912-20F25BEE4042}" presName="rootComposite" presStyleCnt="0"/>
      <dgm:spPr/>
    </dgm:pt>
    <dgm:pt modelId="{4FD35315-35F9-4765-831B-397662970EA7}" type="pres">
      <dgm:prSet presAssocID="{7BEB2808-76D2-4757-9912-20F25BEE4042}" presName="rootText" presStyleLbl="node3" presStyleIdx="5" presStyleCnt="23">
        <dgm:presLayoutVars>
          <dgm:chPref val="3"/>
        </dgm:presLayoutVars>
      </dgm:prSet>
      <dgm:spPr/>
    </dgm:pt>
    <dgm:pt modelId="{84C6D8A1-B11E-4FD3-A4DC-1A2A0DD7142D}" type="pres">
      <dgm:prSet presAssocID="{7BEB2808-76D2-4757-9912-20F25BEE4042}" presName="rootConnector" presStyleLbl="node3" presStyleIdx="5" presStyleCnt="23"/>
      <dgm:spPr/>
    </dgm:pt>
    <dgm:pt modelId="{C64861E3-2DC7-49D0-91A2-53508D9C8069}" type="pres">
      <dgm:prSet presAssocID="{7BEB2808-76D2-4757-9912-20F25BEE4042}" presName="hierChild4" presStyleCnt="0"/>
      <dgm:spPr/>
    </dgm:pt>
    <dgm:pt modelId="{9A1219E2-6AE6-47C0-B7B7-BA4205A69CB3}" type="pres">
      <dgm:prSet presAssocID="{7BEB2808-76D2-4757-9912-20F25BEE4042}" presName="hierChild5" presStyleCnt="0"/>
      <dgm:spPr/>
    </dgm:pt>
    <dgm:pt modelId="{A5D6B534-17B7-4E2A-A82A-2E65B6138EBD}" type="pres">
      <dgm:prSet presAssocID="{F783B4AB-D182-4A09-B696-7538487740FA}" presName="Name37" presStyleLbl="parChTrans1D3" presStyleIdx="6" presStyleCnt="23"/>
      <dgm:spPr/>
    </dgm:pt>
    <dgm:pt modelId="{467AFA7F-C1C1-4AE4-B106-8C76866AA70E}" type="pres">
      <dgm:prSet presAssocID="{E2585C12-F5E8-40D5-B205-17F878E8B1CD}" presName="hierRoot2" presStyleCnt="0">
        <dgm:presLayoutVars>
          <dgm:hierBranch val="init"/>
        </dgm:presLayoutVars>
      </dgm:prSet>
      <dgm:spPr/>
    </dgm:pt>
    <dgm:pt modelId="{4C71A5D0-4125-4E46-A9D2-CC8CE3DFE4AF}" type="pres">
      <dgm:prSet presAssocID="{E2585C12-F5E8-40D5-B205-17F878E8B1CD}" presName="rootComposite" presStyleCnt="0"/>
      <dgm:spPr/>
    </dgm:pt>
    <dgm:pt modelId="{C800D746-0C23-4916-BC92-CA6BD5AB7E8C}" type="pres">
      <dgm:prSet presAssocID="{E2585C12-F5E8-40D5-B205-17F878E8B1CD}" presName="rootText" presStyleLbl="node3" presStyleIdx="6" presStyleCnt="23">
        <dgm:presLayoutVars>
          <dgm:chPref val="3"/>
        </dgm:presLayoutVars>
      </dgm:prSet>
      <dgm:spPr/>
    </dgm:pt>
    <dgm:pt modelId="{70FA6B3B-1C45-4C14-B6E9-FC7B38443006}" type="pres">
      <dgm:prSet presAssocID="{E2585C12-F5E8-40D5-B205-17F878E8B1CD}" presName="rootConnector" presStyleLbl="node3" presStyleIdx="6" presStyleCnt="23"/>
      <dgm:spPr/>
    </dgm:pt>
    <dgm:pt modelId="{B3F3FB5F-1D0B-4051-999E-19EA01CDE742}" type="pres">
      <dgm:prSet presAssocID="{E2585C12-F5E8-40D5-B205-17F878E8B1CD}" presName="hierChild4" presStyleCnt="0"/>
      <dgm:spPr/>
    </dgm:pt>
    <dgm:pt modelId="{9577981F-9E9A-4036-8852-983A710278C5}" type="pres">
      <dgm:prSet presAssocID="{E2585C12-F5E8-40D5-B205-17F878E8B1CD}" presName="hierChild5" presStyleCnt="0"/>
      <dgm:spPr/>
    </dgm:pt>
    <dgm:pt modelId="{0B937F12-F8D7-4C01-9BD1-14E1722C630B}" type="pres">
      <dgm:prSet presAssocID="{35DE3FB7-C27A-48F0-8A0F-E44CE84CCA68}" presName="Name37" presStyleLbl="parChTrans1D3" presStyleIdx="7" presStyleCnt="23"/>
      <dgm:spPr/>
    </dgm:pt>
    <dgm:pt modelId="{7C3306A8-BDE3-4758-B01F-04A8BAEF0179}" type="pres">
      <dgm:prSet presAssocID="{AE331F4A-5395-4A90-9E4D-C2321587FA20}" presName="hierRoot2" presStyleCnt="0">
        <dgm:presLayoutVars>
          <dgm:hierBranch val="init"/>
        </dgm:presLayoutVars>
      </dgm:prSet>
      <dgm:spPr/>
    </dgm:pt>
    <dgm:pt modelId="{F802FBFE-AC5A-4DC0-952B-13C4B5A46154}" type="pres">
      <dgm:prSet presAssocID="{AE331F4A-5395-4A90-9E4D-C2321587FA20}" presName="rootComposite" presStyleCnt="0"/>
      <dgm:spPr/>
    </dgm:pt>
    <dgm:pt modelId="{5E2EC152-1896-4934-BF49-2086A09173DC}" type="pres">
      <dgm:prSet presAssocID="{AE331F4A-5395-4A90-9E4D-C2321587FA20}" presName="rootText" presStyleLbl="node3" presStyleIdx="7" presStyleCnt="23">
        <dgm:presLayoutVars>
          <dgm:chPref val="3"/>
        </dgm:presLayoutVars>
      </dgm:prSet>
      <dgm:spPr/>
    </dgm:pt>
    <dgm:pt modelId="{8E5188D2-2BEF-43EE-B3B4-908BC6E7B2D7}" type="pres">
      <dgm:prSet presAssocID="{AE331F4A-5395-4A90-9E4D-C2321587FA20}" presName="rootConnector" presStyleLbl="node3" presStyleIdx="7" presStyleCnt="23"/>
      <dgm:spPr/>
    </dgm:pt>
    <dgm:pt modelId="{DFDB72CD-C608-4891-9071-CE737603FC8C}" type="pres">
      <dgm:prSet presAssocID="{AE331F4A-5395-4A90-9E4D-C2321587FA20}" presName="hierChild4" presStyleCnt="0"/>
      <dgm:spPr/>
    </dgm:pt>
    <dgm:pt modelId="{D60B73C7-A170-42D7-BC32-7227A964CDF6}" type="pres">
      <dgm:prSet presAssocID="{AE331F4A-5395-4A90-9E4D-C2321587FA20}" presName="hierChild5" presStyleCnt="0"/>
      <dgm:spPr/>
    </dgm:pt>
    <dgm:pt modelId="{61D347BC-BDA0-475C-9A50-42A81474D152}" type="pres">
      <dgm:prSet presAssocID="{60CB21AC-B29E-4A68-9B32-AA07A1637142}" presName="Name37" presStyleLbl="parChTrans1D3" presStyleIdx="8" presStyleCnt="23"/>
      <dgm:spPr/>
    </dgm:pt>
    <dgm:pt modelId="{485854F4-3F23-45C7-B07A-B60D040819E1}" type="pres">
      <dgm:prSet presAssocID="{19A7B5C4-7D06-42AD-95E8-D6A498E0C1F5}" presName="hierRoot2" presStyleCnt="0">
        <dgm:presLayoutVars>
          <dgm:hierBranch val="init"/>
        </dgm:presLayoutVars>
      </dgm:prSet>
      <dgm:spPr/>
    </dgm:pt>
    <dgm:pt modelId="{E9CA11BE-A1EC-4B37-9C48-AD5F0406E98E}" type="pres">
      <dgm:prSet presAssocID="{19A7B5C4-7D06-42AD-95E8-D6A498E0C1F5}" presName="rootComposite" presStyleCnt="0"/>
      <dgm:spPr/>
    </dgm:pt>
    <dgm:pt modelId="{0BD3DD64-59B2-4E23-A3E9-C228E9C15727}" type="pres">
      <dgm:prSet presAssocID="{19A7B5C4-7D06-42AD-95E8-D6A498E0C1F5}" presName="rootText" presStyleLbl="node3" presStyleIdx="8" presStyleCnt="23">
        <dgm:presLayoutVars>
          <dgm:chPref val="3"/>
        </dgm:presLayoutVars>
      </dgm:prSet>
      <dgm:spPr/>
    </dgm:pt>
    <dgm:pt modelId="{7E4AEF42-AF6B-49DC-974C-72A28A676FB5}" type="pres">
      <dgm:prSet presAssocID="{19A7B5C4-7D06-42AD-95E8-D6A498E0C1F5}" presName="rootConnector" presStyleLbl="node3" presStyleIdx="8" presStyleCnt="23"/>
      <dgm:spPr/>
    </dgm:pt>
    <dgm:pt modelId="{63878068-6573-48A1-B433-DD90AB3AD4BC}" type="pres">
      <dgm:prSet presAssocID="{19A7B5C4-7D06-42AD-95E8-D6A498E0C1F5}" presName="hierChild4" presStyleCnt="0"/>
      <dgm:spPr/>
    </dgm:pt>
    <dgm:pt modelId="{D2CA20CD-C508-487A-B806-8F717FC7A8C8}" type="pres">
      <dgm:prSet presAssocID="{19A7B5C4-7D06-42AD-95E8-D6A498E0C1F5}" presName="hierChild5" presStyleCnt="0"/>
      <dgm:spPr/>
    </dgm:pt>
    <dgm:pt modelId="{685A8324-0154-4BAE-A282-BD7F9874BF84}" type="pres">
      <dgm:prSet presAssocID="{D8143E05-927E-4F04-8D74-1A21357C3236}" presName="Name37" presStyleLbl="parChTrans1D3" presStyleIdx="9" presStyleCnt="23"/>
      <dgm:spPr/>
    </dgm:pt>
    <dgm:pt modelId="{0B9F7850-92C9-4C64-B8CC-0320CF7C3B1D}" type="pres">
      <dgm:prSet presAssocID="{F78870A4-1642-477C-8D83-BB7AE2D8778F}" presName="hierRoot2" presStyleCnt="0">
        <dgm:presLayoutVars>
          <dgm:hierBranch val="init"/>
        </dgm:presLayoutVars>
      </dgm:prSet>
      <dgm:spPr/>
    </dgm:pt>
    <dgm:pt modelId="{19E76818-7000-4ABD-80F2-22ACB5F5A3B4}" type="pres">
      <dgm:prSet presAssocID="{F78870A4-1642-477C-8D83-BB7AE2D8778F}" presName="rootComposite" presStyleCnt="0"/>
      <dgm:spPr/>
    </dgm:pt>
    <dgm:pt modelId="{6E6D14F6-4F85-4419-9F67-B3B1D3771340}" type="pres">
      <dgm:prSet presAssocID="{F78870A4-1642-477C-8D83-BB7AE2D8778F}" presName="rootText" presStyleLbl="node3" presStyleIdx="9" presStyleCnt="23">
        <dgm:presLayoutVars>
          <dgm:chPref val="3"/>
        </dgm:presLayoutVars>
      </dgm:prSet>
      <dgm:spPr/>
    </dgm:pt>
    <dgm:pt modelId="{1CE07665-C021-421E-A3D4-3DB74C79A17E}" type="pres">
      <dgm:prSet presAssocID="{F78870A4-1642-477C-8D83-BB7AE2D8778F}" presName="rootConnector" presStyleLbl="node3" presStyleIdx="9" presStyleCnt="23"/>
      <dgm:spPr/>
    </dgm:pt>
    <dgm:pt modelId="{6BE193BC-9A68-45E2-82DD-5F8AC02CBC2D}" type="pres">
      <dgm:prSet presAssocID="{F78870A4-1642-477C-8D83-BB7AE2D8778F}" presName="hierChild4" presStyleCnt="0"/>
      <dgm:spPr/>
    </dgm:pt>
    <dgm:pt modelId="{D4897FB8-E16A-4AD2-820D-9C31854816EF}" type="pres">
      <dgm:prSet presAssocID="{F78870A4-1642-477C-8D83-BB7AE2D8778F}" presName="hierChild5" presStyleCnt="0"/>
      <dgm:spPr/>
    </dgm:pt>
    <dgm:pt modelId="{1F085937-6BDB-443D-9528-8DB704A45376}" type="pres">
      <dgm:prSet presAssocID="{200D367A-2165-43C8-8729-16CFF9B268A5}" presName="hierChild5" presStyleCnt="0"/>
      <dgm:spPr/>
    </dgm:pt>
    <dgm:pt modelId="{688DA1DE-8E0B-4E11-A40F-7EEC2C0D9A3E}" type="pres">
      <dgm:prSet presAssocID="{D4CC20A5-0263-4C1E-BD2D-03EE3D076370}" presName="Name37" presStyleLbl="parChTrans1D2" presStyleIdx="2" presStyleCnt="8"/>
      <dgm:spPr/>
    </dgm:pt>
    <dgm:pt modelId="{FA52646F-4F8D-4554-9905-B949C0E98544}" type="pres">
      <dgm:prSet presAssocID="{A93202A1-CE4D-4BC9-BA78-7650E7C04C8E}" presName="hierRoot2" presStyleCnt="0">
        <dgm:presLayoutVars>
          <dgm:hierBranch val="init"/>
        </dgm:presLayoutVars>
      </dgm:prSet>
      <dgm:spPr/>
    </dgm:pt>
    <dgm:pt modelId="{5B54768D-DC23-4D54-86B7-DD16C6BB945D}" type="pres">
      <dgm:prSet presAssocID="{A93202A1-CE4D-4BC9-BA78-7650E7C04C8E}" presName="rootComposite" presStyleCnt="0"/>
      <dgm:spPr/>
    </dgm:pt>
    <dgm:pt modelId="{B0D37D22-9103-4AC9-A936-B7B94FF81347}" type="pres">
      <dgm:prSet presAssocID="{A93202A1-CE4D-4BC9-BA78-7650E7C04C8E}" presName="rootText" presStyleLbl="node2" presStyleIdx="2" presStyleCnt="7">
        <dgm:presLayoutVars>
          <dgm:chPref val="3"/>
        </dgm:presLayoutVars>
      </dgm:prSet>
      <dgm:spPr/>
    </dgm:pt>
    <dgm:pt modelId="{D866FCE2-941B-47AB-B780-B59924BC9605}" type="pres">
      <dgm:prSet presAssocID="{A93202A1-CE4D-4BC9-BA78-7650E7C04C8E}" presName="rootConnector" presStyleLbl="node2" presStyleIdx="2" presStyleCnt="7"/>
      <dgm:spPr/>
    </dgm:pt>
    <dgm:pt modelId="{64148F51-1981-487A-9047-C15F596021A0}" type="pres">
      <dgm:prSet presAssocID="{A93202A1-CE4D-4BC9-BA78-7650E7C04C8E}" presName="hierChild4" presStyleCnt="0"/>
      <dgm:spPr/>
    </dgm:pt>
    <dgm:pt modelId="{230EB70D-8B66-444D-AF14-9665ED459AB4}" type="pres">
      <dgm:prSet presAssocID="{72AE1587-3B82-46F6-BEC2-CF26023F62BD}" presName="Name37" presStyleLbl="parChTrans1D3" presStyleIdx="10" presStyleCnt="23"/>
      <dgm:spPr/>
    </dgm:pt>
    <dgm:pt modelId="{354897E5-693C-4061-888F-3734DAAC5268}" type="pres">
      <dgm:prSet presAssocID="{DD07F746-CF3B-477D-80EB-3BD98C0A7859}" presName="hierRoot2" presStyleCnt="0">
        <dgm:presLayoutVars>
          <dgm:hierBranch val="init"/>
        </dgm:presLayoutVars>
      </dgm:prSet>
      <dgm:spPr/>
    </dgm:pt>
    <dgm:pt modelId="{8D70E0F2-A342-4889-AB7C-63D8F06A3B45}" type="pres">
      <dgm:prSet presAssocID="{DD07F746-CF3B-477D-80EB-3BD98C0A7859}" presName="rootComposite" presStyleCnt="0"/>
      <dgm:spPr/>
    </dgm:pt>
    <dgm:pt modelId="{D661967C-C6CB-4B45-99C1-3BC6A007D77F}" type="pres">
      <dgm:prSet presAssocID="{DD07F746-CF3B-477D-80EB-3BD98C0A7859}" presName="rootText" presStyleLbl="node3" presStyleIdx="10" presStyleCnt="23">
        <dgm:presLayoutVars>
          <dgm:chPref val="3"/>
        </dgm:presLayoutVars>
      </dgm:prSet>
      <dgm:spPr/>
    </dgm:pt>
    <dgm:pt modelId="{D8A7B2E2-06DB-4090-8343-B936C255ADB5}" type="pres">
      <dgm:prSet presAssocID="{DD07F746-CF3B-477D-80EB-3BD98C0A7859}" presName="rootConnector" presStyleLbl="node3" presStyleIdx="10" presStyleCnt="23"/>
      <dgm:spPr/>
    </dgm:pt>
    <dgm:pt modelId="{915E7201-FB20-417B-9D5F-9D8165F2E64B}" type="pres">
      <dgm:prSet presAssocID="{DD07F746-CF3B-477D-80EB-3BD98C0A7859}" presName="hierChild4" presStyleCnt="0"/>
      <dgm:spPr/>
    </dgm:pt>
    <dgm:pt modelId="{ACF03AF4-044A-4ABE-8475-4CAF3F37FDF2}" type="pres">
      <dgm:prSet presAssocID="{DD07F746-CF3B-477D-80EB-3BD98C0A7859}" presName="hierChild5" presStyleCnt="0"/>
      <dgm:spPr/>
    </dgm:pt>
    <dgm:pt modelId="{9D04B380-04B0-4EB3-BDF0-7C6B8DEA850B}" type="pres">
      <dgm:prSet presAssocID="{3A97FC3B-2765-4AC5-88F6-41A7CFA905E8}" presName="Name37" presStyleLbl="parChTrans1D3" presStyleIdx="11" presStyleCnt="23"/>
      <dgm:spPr/>
    </dgm:pt>
    <dgm:pt modelId="{800523BF-7B46-4697-8861-379875E285FE}" type="pres">
      <dgm:prSet presAssocID="{FF20BD5F-6797-4C2D-BEC0-4958AB9C2E6F}" presName="hierRoot2" presStyleCnt="0">
        <dgm:presLayoutVars>
          <dgm:hierBranch val="init"/>
        </dgm:presLayoutVars>
      </dgm:prSet>
      <dgm:spPr/>
    </dgm:pt>
    <dgm:pt modelId="{9645E70D-69DC-4B0E-B6F6-ADE052B34C1E}" type="pres">
      <dgm:prSet presAssocID="{FF20BD5F-6797-4C2D-BEC0-4958AB9C2E6F}" presName="rootComposite" presStyleCnt="0"/>
      <dgm:spPr/>
    </dgm:pt>
    <dgm:pt modelId="{120F3D84-857A-4C6A-9DE4-5BDC762A1547}" type="pres">
      <dgm:prSet presAssocID="{FF20BD5F-6797-4C2D-BEC0-4958AB9C2E6F}" presName="rootText" presStyleLbl="node3" presStyleIdx="11" presStyleCnt="23">
        <dgm:presLayoutVars>
          <dgm:chPref val="3"/>
        </dgm:presLayoutVars>
      </dgm:prSet>
      <dgm:spPr/>
    </dgm:pt>
    <dgm:pt modelId="{0CFBD3E9-BA77-42E2-AA07-779E3729B9D3}" type="pres">
      <dgm:prSet presAssocID="{FF20BD5F-6797-4C2D-BEC0-4958AB9C2E6F}" presName="rootConnector" presStyleLbl="node3" presStyleIdx="11" presStyleCnt="23"/>
      <dgm:spPr/>
    </dgm:pt>
    <dgm:pt modelId="{4A3114E6-41AC-495C-96B8-9A64AF5EA574}" type="pres">
      <dgm:prSet presAssocID="{FF20BD5F-6797-4C2D-BEC0-4958AB9C2E6F}" presName="hierChild4" presStyleCnt="0"/>
      <dgm:spPr/>
    </dgm:pt>
    <dgm:pt modelId="{9378A419-7AF2-4B9E-8736-7268AFB81EEA}" type="pres">
      <dgm:prSet presAssocID="{FF20BD5F-6797-4C2D-BEC0-4958AB9C2E6F}" presName="hierChild5" presStyleCnt="0"/>
      <dgm:spPr/>
    </dgm:pt>
    <dgm:pt modelId="{CB705D80-A895-46DA-AD3E-30F2C1DEA5B6}" type="pres">
      <dgm:prSet presAssocID="{2BAA3F3F-3FEB-4025-AAC8-C374A2A8BD93}" presName="Name37" presStyleLbl="parChTrans1D3" presStyleIdx="12" presStyleCnt="23"/>
      <dgm:spPr/>
    </dgm:pt>
    <dgm:pt modelId="{42F77284-1345-4765-B57F-0D6C0BBC4450}" type="pres">
      <dgm:prSet presAssocID="{53A1240D-363B-4BF3-B177-1603845DDCBC}" presName="hierRoot2" presStyleCnt="0">
        <dgm:presLayoutVars>
          <dgm:hierBranch val="init"/>
        </dgm:presLayoutVars>
      </dgm:prSet>
      <dgm:spPr/>
    </dgm:pt>
    <dgm:pt modelId="{317C3C90-3C1C-4B13-B9D0-8577E3133112}" type="pres">
      <dgm:prSet presAssocID="{53A1240D-363B-4BF3-B177-1603845DDCBC}" presName="rootComposite" presStyleCnt="0"/>
      <dgm:spPr/>
    </dgm:pt>
    <dgm:pt modelId="{5B25FF5A-F170-4059-81E5-9AAFC705E2DF}" type="pres">
      <dgm:prSet presAssocID="{53A1240D-363B-4BF3-B177-1603845DDCBC}" presName="rootText" presStyleLbl="node3" presStyleIdx="12" presStyleCnt="23">
        <dgm:presLayoutVars>
          <dgm:chPref val="3"/>
        </dgm:presLayoutVars>
      </dgm:prSet>
      <dgm:spPr/>
    </dgm:pt>
    <dgm:pt modelId="{E0FAF68D-CACD-42F2-9902-31D2604C115A}" type="pres">
      <dgm:prSet presAssocID="{53A1240D-363B-4BF3-B177-1603845DDCBC}" presName="rootConnector" presStyleLbl="node3" presStyleIdx="12" presStyleCnt="23"/>
      <dgm:spPr/>
    </dgm:pt>
    <dgm:pt modelId="{6450064E-6FFF-4BEA-8D64-1DB866658991}" type="pres">
      <dgm:prSet presAssocID="{53A1240D-363B-4BF3-B177-1603845DDCBC}" presName="hierChild4" presStyleCnt="0"/>
      <dgm:spPr/>
    </dgm:pt>
    <dgm:pt modelId="{CF8ECCD7-A4F8-4923-888E-F2698097DF6C}" type="pres">
      <dgm:prSet presAssocID="{53A1240D-363B-4BF3-B177-1603845DDCBC}" presName="hierChild5" presStyleCnt="0"/>
      <dgm:spPr/>
    </dgm:pt>
    <dgm:pt modelId="{250A9133-9D8D-4311-B630-97F271835AC4}" type="pres">
      <dgm:prSet presAssocID="{6A0C9252-4E80-4788-9325-461D0A5630FC}" presName="Name37" presStyleLbl="parChTrans1D3" presStyleIdx="13" presStyleCnt="23"/>
      <dgm:spPr/>
    </dgm:pt>
    <dgm:pt modelId="{7C230DA9-2822-4E2C-A73E-077638ABF436}" type="pres">
      <dgm:prSet presAssocID="{BCD1279A-5873-4D67-86F0-776588CAF479}" presName="hierRoot2" presStyleCnt="0">
        <dgm:presLayoutVars>
          <dgm:hierBranch val="init"/>
        </dgm:presLayoutVars>
      </dgm:prSet>
      <dgm:spPr/>
    </dgm:pt>
    <dgm:pt modelId="{E4F5CA34-30BA-43E0-A461-DBF56460C026}" type="pres">
      <dgm:prSet presAssocID="{BCD1279A-5873-4D67-86F0-776588CAF479}" presName="rootComposite" presStyleCnt="0"/>
      <dgm:spPr/>
    </dgm:pt>
    <dgm:pt modelId="{143A7E81-6929-4607-AA46-C69C90FB6EA4}" type="pres">
      <dgm:prSet presAssocID="{BCD1279A-5873-4D67-86F0-776588CAF479}" presName="rootText" presStyleLbl="node3" presStyleIdx="13" presStyleCnt="23">
        <dgm:presLayoutVars>
          <dgm:chPref val="3"/>
        </dgm:presLayoutVars>
      </dgm:prSet>
      <dgm:spPr/>
    </dgm:pt>
    <dgm:pt modelId="{23EA9E9C-1BF7-4136-9649-5BAB37A17FCC}" type="pres">
      <dgm:prSet presAssocID="{BCD1279A-5873-4D67-86F0-776588CAF479}" presName="rootConnector" presStyleLbl="node3" presStyleIdx="13" presStyleCnt="23"/>
      <dgm:spPr/>
    </dgm:pt>
    <dgm:pt modelId="{D2541F6D-9360-4CB0-98D1-7C5C69A76A37}" type="pres">
      <dgm:prSet presAssocID="{BCD1279A-5873-4D67-86F0-776588CAF479}" presName="hierChild4" presStyleCnt="0"/>
      <dgm:spPr/>
    </dgm:pt>
    <dgm:pt modelId="{32B6DE90-86B9-4966-9070-5F17AEC612D5}" type="pres">
      <dgm:prSet presAssocID="{BCD1279A-5873-4D67-86F0-776588CAF479}" presName="hierChild5" presStyleCnt="0"/>
      <dgm:spPr/>
    </dgm:pt>
    <dgm:pt modelId="{529012D5-96CB-4238-9C5C-FCE12B27ABCD}" type="pres">
      <dgm:prSet presAssocID="{F6F70786-7616-4969-983A-DB65EF5965BA}" presName="Name37" presStyleLbl="parChTrans1D3" presStyleIdx="14" presStyleCnt="23"/>
      <dgm:spPr/>
    </dgm:pt>
    <dgm:pt modelId="{5596A8AB-23A4-46B4-9D3E-FFF449790A98}" type="pres">
      <dgm:prSet presAssocID="{6E0AFFC8-C6E5-44B5-BE24-8A2CF2C55E95}" presName="hierRoot2" presStyleCnt="0">
        <dgm:presLayoutVars>
          <dgm:hierBranch val="init"/>
        </dgm:presLayoutVars>
      </dgm:prSet>
      <dgm:spPr/>
    </dgm:pt>
    <dgm:pt modelId="{1237F100-B7B2-481F-BC76-04595A0B0472}" type="pres">
      <dgm:prSet presAssocID="{6E0AFFC8-C6E5-44B5-BE24-8A2CF2C55E95}" presName="rootComposite" presStyleCnt="0"/>
      <dgm:spPr/>
    </dgm:pt>
    <dgm:pt modelId="{256FC6BB-DDFA-4616-B4C9-8D4ACC72CD09}" type="pres">
      <dgm:prSet presAssocID="{6E0AFFC8-C6E5-44B5-BE24-8A2CF2C55E95}" presName="rootText" presStyleLbl="node3" presStyleIdx="14" presStyleCnt="23">
        <dgm:presLayoutVars>
          <dgm:chPref val="3"/>
        </dgm:presLayoutVars>
      </dgm:prSet>
      <dgm:spPr/>
    </dgm:pt>
    <dgm:pt modelId="{D2763E0B-7359-42DF-ACC5-7FE2836EC021}" type="pres">
      <dgm:prSet presAssocID="{6E0AFFC8-C6E5-44B5-BE24-8A2CF2C55E95}" presName="rootConnector" presStyleLbl="node3" presStyleIdx="14" presStyleCnt="23"/>
      <dgm:spPr/>
    </dgm:pt>
    <dgm:pt modelId="{82AEE3B9-4E3B-4BAE-9D23-9976265DF32D}" type="pres">
      <dgm:prSet presAssocID="{6E0AFFC8-C6E5-44B5-BE24-8A2CF2C55E95}" presName="hierChild4" presStyleCnt="0"/>
      <dgm:spPr/>
    </dgm:pt>
    <dgm:pt modelId="{0A0216F8-C3DB-47C8-A2A3-89C214A7A405}" type="pres">
      <dgm:prSet presAssocID="{6E0AFFC8-C6E5-44B5-BE24-8A2CF2C55E95}" presName="hierChild5" presStyleCnt="0"/>
      <dgm:spPr/>
    </dgm:pt>
    <dgm:pt modelId="{9ABD66D8-AAD7-42BB-9BEC-CBF7222A3F47}" type="pres">
      <dgm:prSet presAssocID="{A93202A1-CE4D-4BC9-BA78-7650E7C04C8E}" presName="hierChild5" presStyleCnt="0"/>
      <dgm:spPr/>
    </dgm:pt>
    <dgm:pt modelId="{96CB8695-6A6F-4110-9BA8-3B7811DB9BFA}" type="pres">
      <dgm:prSet presAssocID="{0FC586FF-F0B2-4C5D-B7EA-832DE73AB876}" presName="Name37" presStyleLbl="parChTrans1D2" presStyleIdx="3" presStyleCnt="8"/>
      <dgm:spPr/>
    </dgm:pt>
    <dgm:pt modelId="{2F945978-60C1-4DBC-A0B4-C35CDF701084}" type="pres">
      <dgm:prSet presAssocID="{881C056E-358F-4369-A895-67B9839ABDBB}" presName="hierRoot2" presStyleCnt="0">
        <dgm:presLayoutVars>
          <dgm:hierBranch val="init"/>
        </dgm:presLayoutVars>
      </dgm:prSet>
      <dgm:spPr/>
    </dgm:pt>
    <dgm:pt modelId="{CB5B4A38-FFB6-4039-8688-335B5DF46B12}" type="pres">
      <dgm:prSet presAssocID="{881C056E-358F-4369-A895-67B9839ABDBB}" presName="rootComposite" presStyleCnt="0"/>
      <dgm:spPr/>
    </dgm:pt>
    <dgm:pt modelId="{324D497E-2926-4E34-9096-31A1B24C0144}" type="pres">
      <dgm:prSet presAssocID="{881C056E-358F-4369-A895-67B9839ABDBB}" presName="rootText" presStyleLbl="node2" presStyleIdx="3" presStyleCnt="7">
        <dgm:presLayoutVars>
          <dgm:chPref val="3"/>
        </dgm:presLayoutVars>
      </dgm:prSet>
      <dgm:spPr/>
    </dgm:pt>
    <dgm:pt modelId="{A707C2F0-4EDB-496F-A1E6-246D6C81C19B}" type="pres">
      <dgm:prSet presAssocID="{881C056E-358F-4369-A895-67B9839ABDBB}" presName="rootConnector" presStyleLbl="node2" presStyleIdx="3" presStyleCnt="7"/>
      <dgm:spPr/>
    </dgm:pt>
    <dgm:pt modelId="{9984D1A2-0878-4588-981E-125535548D94}" type="pres">
      <dgm:prSet presAssocID="{881C056E-358F-4369-A895-67B9839ABDBB}" presName="hierChild4" presStyleCnt="0"/>
      <dgm:spPr/>
    </dgm:pt>
    <dgm:pt modelId="{65798E84-1826-453D-8899-27D1D6D293F1}" type="pres">
      <dgm:prSet presAssocID="{39762767-44C1-4F0D-889A-0F1C25131481}" presName="Name37" presStyleLbl="parChTrans1D3" presStyleIdx="15" presStyleCnt="23"/>
      <dgm:spPr/>
    </dgm:pt>
    <dgm:pt modelId="{FA9342E8-EF91-425D-BE91-CDBE5252C34E}" type="pres">
      <dgm:prSet presAssocID="{3AEE0ECF-74C1-4B9A-BAE8-53E0C57BA493}" presName="hierRoot2" presStyleCnt="0">
        <dgm:presLayoutVars>
          <dgm:hierBranch val="init"/>
        </dgm:presLayoutVars>
      </dgm:prSet>
      <dgm:spPr/>
    </dgm:pt>
    <dgm:pt modelId="{1EAC173A-33CD-4A3A-A536-D7140B963901}" type="pres">
      <dgm:prSet presAssocID="{3AEE0ECF-74C1-4B9A-BAE8-53E0C57BA493}" presName="rootComposite" presStyleCnt="0"/>
      <dgm:spPr/>
    </dgm:pt>
    <dgm:pt modelId="{A1C0B929-5955-426C-9B95-62BD7A0741FE}" type="pres">
      <dgm:prSet presAssocID="{3AEE0ECF-74C1-4B9A-BAE8-53E0C57BA493}" presName="rootText" presStyleLbl="node3" presStyleIdx="15" presStyleCnt="23">
        <dgm:presLayoutVars>
          <dgm:chPref val="3"/>
        </dgm:presLayoutVars>
      </dgm:prSet>
      <dgm:spPr/>
    </dgm:pt>
    <dgm:pt modelId="{D8EBB029-4CCB-4D7E-8909-4C9F507E5D5E}" type="pres">
      <dgm:prSet presAssocID="{3AEE0ECF-74C1-4B9A-BAE8-53E0C57BA493}" presName="rootConnector" presStyleLbl="node3" presStyleIdx="15" presStyleCnt="23"/>
      <dgm:spPr/>
    </dgm:pt>
    <dgm:pt modelId="{F2852038-34B9-4748-9E53-BCF789CBECEC}" type="pres">
      <dgm:prSet presAssocID="{3AEE0ECF-74C1-4B9A-BAE8-53E0C57BA493}" presName="hierChild4" presStyleCnt="0"/>
      <dgm:spPr/>
    </dgm:pt>
    <dgm:pt modelId="{C5061EED-38D0-47F0-A28C-AFD59EF2B0DA}" type="pres">
      <dgm:prSet presAssocID="{3AEE0ECF-74C1-4B9A-BAE8-53E0C57BA493}" presName="hierChild5" presStyleCnt="0"/>
      <dgm:spPr/>
    </dgm:pt>
    <dgm:pt modelId="{60A9A5CD-1D47-4727-9FE2-7E521C06E179}" type="pres">
      <dgm:prSet presAssocID="{617EFD01-FFFE-42A5-8E4E-71098711255E}" presName="Name37" presStyleLbl="parChTrans1D3" presStyleIdx="16" presStyleCnt="23"/>
      <dgm:spPr/>
    </dgm:pt>
    <dgm:pt modelId="{FF019C81-213A-4C0C-BA15-CE7B7E7896F2}" type="pres">
      <dgm:prSet presAssocID="{E71431E9-C527-47EB-8E13-05A24953942C}" presName="hierRoot2" presStyleCnt="0">
        <dgm:presLayoutVars>
          <dgm:hierBranch val="init"/>
        </dgm:presLayoutVars>
      </dgm:prSet>
      <dgm:spPr/>
    </dgm:pt>
    <dgm:pt modelId="{148669AB-9064-40AF-941D-94F68B1995DF}" type="pres">
      <dgm:prSet presAssocID="{E71431E9-C527-47EB-8E13-05A24953942C}" presName="rootComposite" presStyleCnt="0"/>
      <dgm:spPr/>
    </dgm:pt>
    <dgm:pt modelId="{0202F198-A412-46DF-A6C4-7BBA642C6935}" type="pres">
      <dgm:prSet presAssocID="{E71431E9-C527-47EB-8E13-05A24953942C}" presName="rootText" presStyleLbl="node3" presStyleIdx="16" presStyleCnt="23">
        <dgm:presLayoutVars>
          <dgm:chPref val="3"/>
        </dgm:presLayoutVars>
      </dgm:prSet>
      <dgm:spPr/>
    </dgm:pt>
    <dgm:pt modelId="{6E525170-A72B-4FEC-B03A-89E321F9442F}" type="pres">
      <dgm:prSet presAssocID="{E71431E9-C527-47EB-8E13-05A24953942C}" presName="rootConnector" presStyleLbl="node3" presStyleIdx="16" presStyleCnt="23"/>
      <dgm:spPr/>
    </dgm:pt>
    <dgm:pt modelId="{A2AEE939-7EBB-44D0-89D7-52878A16CF85}" type="pres">
      <dgm:prSet presAssocID="{E71431E9-C527-47EB-8E13-05A24953942C}" presName="hierChild4" presStyleCnt="0"/>
      <dgm:spPr/>
    </dgm:pt>
    <dgm:pt modelId="{67F665F9-2859-4E96-8ECC-38F4E6526BF8}" type="pres">
      <dgm:prSet presAssocID="{E71431E9-C527-47EB-8E13-05A24953942C}" presName="hierChild5" presStyleCnt="0"/>
      <dgm:spPr/>
    </dgm:pt>
    <dgm:pt modelId="{9B2FC452-DE2F-4DD1-8A03-FDA8B0B5FF2B}" type="pres">
      <dgm:prSet presAssocID="{881C056E-358F-4369-A895-67B9839ABDBB}" presName="hierChild5" presStyleCnt="0"/>
      <dgm:spPr/>
    </dgm:pt>
    <dgm:pt modelId="{DA16CD7F-B22A-49A6-91FC-06C0957AF773}" type="pres">
      <dgm:prSet presAssocID="{553363F7-1546-4F18-9B75-80D1CE17868E}" presName="Name37" presStyleLbl="parChTrans1D2" presStyleIdx="4" presStyleCnt="8"/>
      <dgm:spPr/>
    </dgm:pt>
    <dgm:pt modelId="{1966C0BC-22C8-437F-8DB1-83D7C96765F8}" type="pres">
      <dgm:prSet presAssocID="{B4FA8ABA-80BA-42AF-8C76-70E49F324901}" presName="hierRoot2" presStyleCnt="0">
        <dgm:presLayoutVars>
          <dgm:hierBranch val="init"/>
        </dgm:presLayoutVars>
      </dgm:prSet>
      <dgm:spPr/>
    </dgm:pt>
    <dgm:pt modelId="{EA9E64C6-E386-4CD2-82E0-F1F5B6B14790}" type="pres">
      <dgm:prSet presAssocID="{B4FA8ABA-80BA-42AF-8C76-70E49F324901}" presName="rootComposite" presStyleCnt="0"/>
      <dgm:spPr/>
    </dgm:pt>
    <dgm:pt modelId="{19830783-0C76-48C1-8BC9-2D257A2854D5}" type="pres">
      <dgm:prSet presAssocID="{B4FA8ABA-80BA-42AF-8C76-70E49F324901}" presName="rootText" presStyleLbl="node2" presStyleIdx="4" presStyleCnt="7">
        <dgm:presLayoutVars>
          <dgm:chPref val="3"/>
        </dgm:presLayoutVars>
      </dgm:prSet>
      <dgm:spPr/>
    </dgm:pt>
    <dgm:pt modelId="{0E2D96AF-CBA1-4753-91AC-C1E1A82033E7}" type="pres">
      <dgm:prSet presAssocID="{B4FA8ABA-80BA-42AF-8C76-70E49F324901}" presName="rootConnector" presStyleLbl="node2" presStyleIdx="4" presStyleCnt="7"/>
      <dgm:spPr/>
    </dgm:pt>
    <dgm:pt modelId="{A0E7A3F8-D578-42FD-B284-CA8CDAF1FADA}" type="pres">
      <dgm:prSet presAssocID="{B4FA8ABA-80BA-42AF-8C76-70E49F324901}" presName="hierChild4" presStyleCnt="0"/>
      <dgm:spPr/>
    </dgm:pt>
    <dgm:pt modelId="{0A4D5908-4001-44D5-97BB-A7CDEDFB1C95}" type="pres">
      <dgm:prSet presAssocID="{3067244A-7976-4E46-A701-948333CB713C}" presName="Name37" presStyleLbl="parChTrans1D3" presStyleIdx="17" presStyleCnt="23"/>
      <dgm:spPr/>
    </dgm:pt>
    <dgm:pt modelId="{2AA921B8-FC48-4AC9-8EF7-C6D7B0BA1C97}" type="pres">
      <dgm:prSet presAssocID="{343F1FF7-75AA-4639-B94D-D2CDEB90FD16}" presName="hierRoot2" presStyleCnt="0">
        <dgm:presLayoutVars>
          <dgm:hierBranch val="init"/>
        </dgm:presLayoutVars>
      </dgm:prSet>
      <dgm:spPr/>
    </dgm:pt>
    <dgm:pt modelId="{DD042F9E-A986-4FC5-8B1F-4A1B4F3C444E}" type="pres">
      <dgm:prSet presAssocID="{343F1FF7-75AA-4639-B94D-D2CDEB90FD16}" presName="rootComposite" presStyleCnt="0"/>
      <dgm:spPr/>
    </dgm:pt>
    <dgm:pt modelId="{C8014A0F-230A-4A1A-AC06-9EE93A2C745D}" type="pres">
      <dgm:prSet presAssocID="{343F1FF7-75AA-4639-B94D-D2CDEB90FD16}" presName="rootText" presStyleLbl="node3" presStyleIdx="17" presStyleCnt="23">
        <dgm:presLayoutVars>
          <dgm:chPref val="3"/>
        </dgm:presLayoutVars>
      </dgm:prSet>
      <dgm:spPr/>
    </dgm:pt>
    <dgm:pt modelId="{6A6731EC-0AD9-46C0-89AD-E299781C5278}" type="pres">
      <dgm:prSet presAssocID="{343F1FF7-75AA-4639-B94D-D2CDEB90FD16}" presName="rootConnector" presStyleLbl="node3" presStyleIdx="17" presStyleCnt="23"/>
      <dgm:spPr/>
    </dgm:pt>
    <dgm:pt modelId="{E8FDA81D-5C50-4EB8-AB86-A631418AE735}" type="pres">
      <dgm:prSet presAssocID="{343F1FF7-75AA-4639-B94D-D2CDEB90FD16}" presName="hierChild4" presStyleCnt="0"/>
      <dgm:spPr/>
    </dgm:pt>
    <dgm:pt modelId="{78CA1F31-DF1F-4925-AD12-1F1098212BA3}" type="pres">
      <dgm:prSet presAssocID="{343F1FF7-75AA-4639-B94D-D2CDEB90FD16}" presName="hierChild5" presStyleCnt="0"/>
      <dgm:spPr/>
    </dgm:pt>
    <dgm:pt modelId="{7136E6B7-7F83-4EA1-9597-9E0D471ECA44}" type="pres">
      <dgm:prSet presAssocID="{B4FA8ABA-80BA-42AF-8C76-70E49F324901}" presName="hierChild5" presStyleCnt="0"/>
      <dgm:spPr/>
    </dgm:pt>
    <dgm:pt modelId="{9144A605-AB1F-4BDE-9483-8BAC6B423B0C}" type="pres">
      <dgm:prSet presAssocID="{469A4666-6E61-4716-A87B-C8F4E731341B}" presName="Name37" presStyleLbl="parChTrans1D2" presStyleIdx="5" presStyleCnt="8"/>
      <dgm:spPr/>
    </dgm:pt>
    <dgm:pt modelId="{BC0E4E6C-D6A7-47C9-95CD-236EE2C132DB}" type="pres">
      <dgm:prSet presAssocID="{C37F06D4-C81E-480A-989F-E1D7B0240442}" presName="hierRoot2" presStyleCnt="0">
        <dgm:presLayoutVars>
          <dgm:hierBranch val="init"/>
        </dgm:presLayoutVars>
      </dgm:prSet>
      <dgm:spPr/>
    </dgm:pt>
    <dgm:pt modelId="{D52B437B-BD0C-46FE-92A5-45651D876252}" type="pres">
      <dgm:prSet presAssocID="{C37F06D4-C81E-480A-989F-E1D7B0240442}" presName="rootComposite" presStyleCnt="0"/>
      <dgm:spPr/>
    </dgm:pt>
    <dgm:pt modelId="{EB60B28C-A24A-4083-A999-99822AFE96F0}" type="pres">
      <dgm:prSet presAssocID="{C37F06D4-C81E-480A-989F-E1D7B0240442}" presName="rootText" presStyleLbl="node2" presStyleIdx="5" presStyleCnt="7">
        <dgm:presLayoutVars>
          <dgm:chPref val="3"/>
        </dgm:presLayoutVars>
      </dgm:prSet>
      <dgm:spPr/>
    </dgm:pt>
    <dgm:pt modelId="{1B75F6CF-10F1-4BB1-990C-DE7440726501}" type="pres">
      <dgm:prSet presAssocID="{C37F06D4-C81E-480A-989F-E1D7B0240442}" presName="rootConnector" presStyleLbl="node2" presStyleIdx="5" presStyleCnt="7"/>
      <dgm:spPr/>
    </dgm:pt>
    <dgm:pt modelId="{B4C69FCC-F0D1-4022-ADAA-E51241D0D72C}" type="pres">
      <dgm:prSet presAssocID="{C37F06D4-C81E-480A-989F-E1D7B0240442}" presName="hierChild4" presStyleCnt="0"/>
      <dgm:spPr/>
    </dgm:pt>
    <dgm:pt modelId="{DBFA3ED4-5F5F-4961-937F-E02834F8E099}" type="pres">
      <dgm:prSet presAssocID="{3B9BFF46-864C-4EFD-9B3C-399A03985096}" presName="Name37" presStyleLbl="parChTrans1D3" presStyleIdx="18" presStyleCnt="23"/>
      <dgm:spPr/>
    </dgm:pt>
    <dgm:pt modelId="{D9085E63-892B-49D0-AC83-2BE14A28E3D3}" type="pres">
      <dgm:prSet presAssocID="{6EA2378E-B82E-4605-9240-D5C8A38F82ED}" presName="hierRoot2" presStyleCnt="0">
        <dgm:presLayoutVars>
          <dgm:hierBranch val="init"/>
        </dgm:presLayoutVars>
      </dgm:prSet>
      <dgm:spPr/>
    </dgm:pt>
    <dgm:pt modelId="{3A937799-E78E-48F1-9902-756F4C177FD1}" type="pres">
      <dgm:prSet presAssocID="{6EA2378E-B82E-4605-9240-D5C8A38F82ED}" presName="rootComposite" presStyleCnt="0"/>
      <dgm:spPr/>
    </dgm:pt>
    <dgm:pt modelId="{FA5E02E9-F288-4B6B-BCBF-D0335BE074CF}" type="pres">
      <dgm:prSet presAssocID="{6EA2378E-B82E-4605-9240-D5C8A38F82ED}" presName="rootText" presStyleLbl="node3" presStyleIdx="18" presStyleCnt="23">
        <dgm:presLayoutVars>
          <dgm:chPref val="3"/>
        </dgm:presLayoutVars>
      </dgm:prSet>
      <dgm:spPr/>
    </dgm:pt>
    <dgm:pt modelId="{71902094-5092-4624-B4C9-2C30E27A902D}" type="pres">
      <dgm:prSet presAssocID="{6EA2378E-B82E-4605-9240-D5C8A38F82ED}" presName="rootConnector" presStyleLbl="node3" presStyleIdx="18" presStyleCnt="23"/>
      <dgm:spPr/>
    </dgm:pt>
    <dgm:pt modelId="{9318E94E-78CA-419B-A1BD-DC3AEA1A41D9}" type="pres">
      <dgm:prSet presAssocID="{6EA2378E-B82E-4605-9240-D5C8A38F82ED}" presName="hierChild4" presStyleCnt="0"/>
      <dgm:spPr/>
    </dgm:pt>
    <dgm:pt modelId="{B7FCF21D-DF23-4E09-A84D-F67504424B98}" type="pres">
      <dgm:prSet presAssocID="{6EA2378E-B82E-4605-9240-D5C8A38F82ED}" presName="hierChild5" presStyleCnt="0"/>
      <dgm:spPr/>
    </dgm:pt>
    <dgm:pt modelId="{AF8958D3-A4FF-4983-847D-5AF58665D963}" type="pres">
      <dgm:prSet presAssocID="{4D68F843-3FE9-4FD1-94CA-011DED783A7E}" presName="Name37" presStyleLbl="parChTrans1D3" presStyleIdx="19" presStyleCnt="23"/>
      <dgm:spPr/>
    </dgm:pt>
    <dgm:pt modelId="{FC89DB86-4310-4C6F-870D-513CA39D1275}" type="pres">
      <dgm:prSet presAssocID="{3E480A70-DB61-455B-B3F2-246DA7C51980}" presName="hierRoot2" presStyleCnt="0">
        <dgm:presLayoutVars>
          <dgm:hierBranch val="init"/>
        </dgm:presLayoutVars>
      </dgm:prSet>
      <dgm:spPr/>
    </dgm:pt>
    <dgm:pt modelId="{45C087AC-FF91-4622-B034-AB3F99E90306}" type="pres">
      <dgm:prSet presAssocID="{3E480A70-DB61-455B-B3F2-246DA7C51980}" presName="rootComposite" presStyleCnt="0"/>
      <dgm:spPr/>
    </dgm:pt>
    <dgm:pt modelId="{2AB2ED81-D175-4C8E-A518-63B3BBBCEDAB}" type="pres">
      <dgm:prSet presAssocID="{3E480A70-DB61-455B-B3F2-246DA7C51980}" presName="rootText" presStyleLbl="node3" presStyleIdx="19" presStyleCnt="23">
        <dgm:presLayoutVars>
          <dgm:chPref val="3"/>
        </dgm:presLayoutVars>
      </dgm:prSet>
      <dgm:spPr/>
    </dgm:pt>
    <dgm:pt modelId="{3BE436A4-B670-41F1-81F8-86C8B4D16C28}" type="pres">
      <dgm:prSet presAssocID="{3E480A70-DB61-455B-B3F2-246DA7C51980}" presName="rootConnector" presStyleLbl="node3" presStyleIdx="19" presStyleCnt="23"/>
      <dgm:spPr/>
    </dgm:pt>
    <dgm:pt modelId="{DC0FCEFB-6C03-41E8-9945-A5DCD01F7C43}" type="pres">
      <dgm:prSet presAssocID="{3E480A70-DB61-455B-B3F2-246DA7C51980}" presName="hierChild4" presStyleCnt="0"/>
      <dgm:spPr/>
    </dgm:pt>
    <dgm:pt modelId="{75E73117-0720-4975-8688-F2C0BC84DE9E}" type="pres">
      <dgm:prSet presAssocID="{3E480A70-DB61-455B-B3F2-246DA7C51980}" presName="hierChild5" presStyleCnt="0"/>
      <dgm:spPr/>
    </dgm:pt>
    <dgm:pt modelId="{32D3D7C0-6493-4728-B0E1-78CDBAF0ECFA}" type="pres">
      <dgm:prSet presAssocID="{8922D300-9116-4AB0-A209-02CE19882177}" presName="Name37" presStyleLbl="parChTrans1D3" presStyleIdx="20" presStyleCnt="23"/>
      <dgm:spPr/>
    </dgm:pt>
    <dgm:pt modelId="{F7179E52-B2FA-459F-8DB9-433EDE6C04EA}" type="pres">
      <dgm:prSet presAssocID="{C6F8BAD1-62F6-4152-B44E-59BF9ABF9467}" presName="hierRoot2" presStyleCnt="0">
        <dgm:presLayoutVars>
          <dgm:hierBranch val="init"/>
        </dgm:presLayoutVars>
      </dgm:prSet>
      <dgm:spPr/>
    </dgm:pt>
    <dgm:pt modelId="{98E0CDE5-1041-4B70-B426-AE51D01231AE}" type="pres">
      <dgm:prSet presAssocID="{C6F8BAD1-62F6-4152-B44E-59BF9ABF9467}" presName="rootComposite" presStyleCnt="0"/>
      <dgm:spPr/>
    </dgm:pt>
    <dgm:pt modelId="{17D7E683-F5B8-42A7-9A5E-85AEFC1CA089}" type="pres">
      <dgm:prSet presAssocID="{C6F8BAD1-62F6-4152-B44E-59BF9ABF9467}" presName="rootText" presStyleLbl="node3" presStyleIdx="20" presStyleCnt="23">
        <dgm:presLayoutVars>
          <dgm:chPref val="3"/>
        </dgm:presLayoutVars>
      </dgm:prSet>
      <dgm:spPr/>
    </dgm:pt>
    <dgm:pt modelId="{7C86C788-A923-4057-A306-2ABF7FB878FF}" type="pres">
      <dgm:prSet presAssocID="{C6F8BAD1-62F6-4152-B44E-59BF9ABF9467}" presName="rootConnector" presStyleLbl="node3" presStyleIdx="20" presStyleCnt="23"/>
      <dgm:spPr/>
    </dgm:pt>
    <dgm:pt modelId="{3D221CCE-6B34-4FCC-8245-959DC8628C2C}" type="pres">
      <dgm:prSet presAssocID="{C6F8BAD1-62F6-4152-B44E-59BF9ABF9467}" presName="hierChild4" presStyleCnt="0"/>
      <dgm:spPr/>
    </dgm:pt>
    <dgm:pt modelId="{49BADFFA-5734-4034-9BF2-8D853B417783}" type="pres">
      <dgm:prSet presAssocID="{C6F8BAD1-62F6-4152-B44E-59BF9ABF9467}" presName="hierChild5" presStyleCnt="0"/>
      <dgm:spPr/>
    </dgm:pt>
    <dgm:pt modelId="{9EE31B11-A3E5-457D-8905-7940DD947FFB}" type="pres">
      <dgm:prSet presAssocID="{8D3E331E-9B54-4E8F-BA17-12217B5CA513}" presName="Name37" presStyleLbl="parChTrans1D3" presStyleIdx="21" presStyleCnt="23"/>
      <dgm:spPr/>
    </dgm:pt>
    <dgm:pt modelId="{F5BD3E17-CA84-4B20-939A-A7BAD04D4932}" type="pres">
      <dgm:prSet presAssocID="{BE4ACDA4-B29E-473C-900D-25832CA6A773}" presName="hierRoot2" presStyleCnt="0">
        <dgm:presLayoutVars>
          <dgm:hierBranch val="init"/>
        </dgm:presLayoutVars>
      </dgm:prSet>
      <dgm:spPr/>
    </dgm:pt>
    <dgm:pt modelId="{D0896811-6154-4708-93E6-2219021D5DB7}" type="pres">
      <dgm:prSet presAssocID="{BE4ACDA4-B29E-473C-900D-25832CA6A773}" presName="rootComposite" presStyleCnt="0"/>
      <dgm:spPr/>
    </dgm:pt>
    <dgm:pt modelId="{4C69988B-0EA9-4A05-9EEB-0C6FEC68456E}" type="pres">
      <dgm:prSet presAssocID="{BE4ACDA4-B29E-473C-900D-25832CA6A773}" presName="rootText" presStyleLbl="node3" presStyleIdx="21" presStyleCnt="23">
        <dgm:presLayoutVars>
          <dgm:chPref val="3"/>
        </dgm:presLayoutVars>
      </dgm:prSet>
      <dgm:spPr/>
    </dgm:pt>
    <dgm:pt modelId="{6CB9BB3E-A5AE-4D9E-9D20-0E1EDB55FD30}" type="pres">
      <dgm:prSet presAssocID="{BE4ACDA4-B29E-473C-900D-25832CA6A773}" presName="rootConnector" presStyleLbl="node3" presStyleIdx="21" presStyleCnt="23"/>
      <dgm:spPr/>
    </dgm:pt>
    <dgm:pt modelId="{CF9302D8-1F8D-4D25-BC05-D957A94422E0}" type="pres">
      <dgm:prSet presAssocID="{BE4ACDA4-B29E-473C-900D-25832CA6A773}" presName="hierChild4" presStyleCnt="0"/>
      <dgm:spPr/>
    </dgm:pt>
    <dgm:pt modelId="{455BAEDE-53EC-47B0-95AC-B7E124FE1942}" type="pres">
      <dgm:prSet presAssocID="{BE4ACDA4-B29E-473C-900D-25832CA6A773}" presName="hierChild5" presStyleCnt="0"/>
      <dgm:spPr/>
    </dgm:pt>
    <dgm:pt modelId="{588C2C50-7E4B-496E-89CF-47F1F83DDD87}" type="pres">
      <dgm:prSet presAssocID="{C37F06D4-C81E-480A-989F-E1D7B0240442}" presName="hierChild5" presStyleCnt="0"/>
      <dgm:spPr/>
    </dgm:pt>
    <dgm:pt modelId="{D6768F99-5E3D-414F-A50B-A37026827B9E}" type="pres">
      <dgm:prSet presAssocID="{4D209FE0-D477-42B5-8E58-A7C9F9650C3A}" presName="Name37" presStyleLbl="parChTrans1D2" presStyleIdx="6" presStyleCnt="8"/>
      <dgm:spPr/>
    </dgm:pt>
    <dgm:pt modelId="{6A845C1C-AB4C-44E0-82D8-A162CBB0C522}" type="pres">
      <dgm:prSet presAssocID="{F2DCD629-1E4F-4956-840B-35D08E96CDCD}" presName="hierRoot2" presStyleCnt="0">
        <dgm:presLayoutVars>
          <dgm:hierBranch val="init"/>
        </dgm:presLayoutVars>
      </dgm:prSet>
      <dgm:spPr/>
    </dgm:pt>
    <dgm:pt modelId="{0A601BC2-4221-4D1A-AA70-C916D2582115}" type="pres">
      <dgm:prSet presAssocID="{F2DCD629-1E4F-4956-840B-35D08E96CDCD}" presName="rootComposite" presStyleCnt="0"/>
      <dgm:spPr/>
    </dgm:pt>
    <dgm:pt modelId="{A0EF915C-80E5-44F8-B5D1-09F69E707861}" type="pres">
      <dgm:prSet presAssocID="{F2DCD629-1E4F-4956-840B-35D08E96CDCD}" presName="rootText" presStyleLbl="node2" presStyleIdx="6" presStyleCnt="7">
        <dgm:presLayoutVars>
          <dgm:chPref val="3"/>
        </dgm:presLayoutVars>
      </dgm:prSet>
      <dgm:spPr/>
    </dgm:pt>
    <dgm:pt modelId="{99650056-94D2-4A56-96A9-7822065932B3}" type="pres">
      <dgm:prSet presAssocID="{F2DCD629-1E4F-4956-840B-35D08E96CDCD}" presName="rootConnector" presStyleLbl="node2" presStyleIdx="6" presStyleCnt="7"/>
      <dgm:spPr/>
    </dgm:pt>
    <dgm:pt modelId="{BAA131B0-6168-492E-916A-618211606E15}" type="pres">
      <dgm:prSet presAssocID="{F2DCD629-1E4F-4956-840B-35D08E96CDCD}" presName="hierChild4" presStyleCnt="0"/>
      <dgm:spPr/>
    </dgm:pt>
    <dgm:pt modelId="{4D516AF4-BB54-411B-9A44-A50B23FB734F}" type="pres">
      <dgm:prSet presAssocID="{B1117BAA-870F-413A-809C-9CF780F2B148}" presName="Name37" presStyleLbl="parChTrans1D3" presStyleIdx="22" presStyleCnt="23"/>
      <dgm:spPr/>
    </dgm:pt>
    <dgm:pt modelId="{4B2CAD07-0669-4F8D-8419-ACDC269E834A}" type="pres">
      <dgm:prSet presAssocID="{53EB81D0-25B0-456A-8879-D1D96A5BFF7A}" presName="hierRoot2" presStyleCnt="0">
        <dgm:presLayoutVars>
          <dgm:hierBranch val="init"/>
        </dgm:presLayoutVars>
      </dgm:prSet>
      <dgm:spPr/>
    </dgm:pt>
    <dgm:pt modelId="{29BE398D-FC24-4853-AF2F-CC62AE90365B}" type="pres">
      <dgm:prSet presAssocID="{53EB81D0-25B0-456A-8879-D1D96A5BFF7A}" presName="rootComposite" presStyleCnt="0"/>
      <dgm:spPr/>
    </dgm:pt>
    <dgm:pt modelId="{93D5BFBD-AF38-4246-A7FC-4D7CCB71F081}" type="pres">
      <dgm:prSet presAssocID="{53EB81D0-25B0-456A-8879-D1D96A5BFF7A}" presName="rootText" presStyleLbl="node3" presStyleIdx="22" presStyleCnt="23">
        <dgm:presLayoutVars>
          <dgm:chPref val="3"/>
        </dgm:presLayoutVars>
      </dgm:prSet>
      <dgm:spPr/>
    </dgm:pt>
    <dgm:pt modelId="{F3038452-84FB-4BC5-B98C-3BC4081B88F9}" type="pres">
      <dgm:prSet presAssocID="{53EB81D0-25B0-456A-8879-D1D96A5BFF7A}" presName="rootConnector" presStyleLbl="node3" presStyleIdx="22" presStyleCnt="23"/>
      <dgm:spPr/>
    </dgm:pt>
    <dgm:pt modelId="{AB8A4BA2-BFEE-4290-A83A-84CD21191C8E}" type="pres">
      <dgm:prSet presAssocID="{53EB81D0-25B0-456A-8879-D1D96A5BFF7A}" presName="hierChild4" presStyleCnt="0"/>
      <dgm:spPr/>
    </dgm:pt>
    <dgm:pt modelId="{995E5B30-2DED-48F5-9706-F97DE50D8F72}" type="pres">
      <dgm:prSet presAssocID="{53EB81D0-25B0-456A-8879-D1D96A5BFF7A}" presName="hierChild5" presStyleCnt="0"/>
      <dgm:spPr/>
    </dgm:pt>
    <dgm:pt modelId="{F2BE06F9-8B56-4EE1-8715-83D0AD794EC5}" type="pres">
      <dgm:prSet presAssocID="{F2DCD629-1E4F-4956-840B-35D08E96CDCD}" presName="hierChild5" presStyleCnt="0"/>
      <dgm:spPr/>
    </dgm:pt>
    <dgm:pt modelId="{5DD74158-0EC2-4B62-822A-00FB2E3B2FEE}" type="pres">
      <dgm:prSet presAssocID="{9B8E5F36-1EE9-45C8-A640-27EE6BEF5368}" presName="hierChild3" presStyleCnt="0"/>
      <dgm:spPr/>
    </dgm:pt>
    <dgm:pt modelId="{7F2DFE19-462D-4DFA-A414-D8D869C47705}" type="pres">
      <dgm:prSet presAssocID="{9EAAC56C-ABB1-4ABE-9782-69B391452E7D}" presName="Name111" presStyleLbl="parChTrans1D2" presStyleIdx="7" presStyleCnt="8"/>
      <dgm:spPr/>
    </dgm:pt>
    <dgm:pt modelId="{C3A77954-C69B-444B-A6E0-E3F22CA58873}" type="pres">
      <dgm:prSet presAssocID="{80C3D08C-BA48-4291-90C5-A48E93EB35B3}" presName="hierRoot3" presStyleCnt="0">
        <dgm:presLayoutVars>
          <dgm:hierBranch val="init"/>
        </dgm:presLayoutVars>
      </dgm:prSet>
      <dgm:spPr/>
    </dgm:pt>
    <dgm:pt modelId="{D7E4F917-37D2-451D-9C9F-6645B948E61B}" type="pres">
      <dgm:prSet presAssocID="{80C3D08C-BA48-4291-90C5-A48E93EB35B3}" presName="rootComposite3" presStyleCnt="0"/>
      <dgm:spPr/>
    </dgm:pt>
    <dgm:pt modelId="{E2772E75-7AEC-4F34-A7C3-CBFE335FD143}" type="pres">
      <dgm:prSet presAssocID="{80C3D08C-BA48-4291-90C5-A48E93EB35B3}" presName="rootText3" presStyleLbl="asst1" presStyleIdx="0" presStyleCnt="1">
        <dgm:presLayoutVars>
          <dgm:chPref val="3"/>
        </dgm:presLayoutVars>
      </dgm:prSet>
      <dgm:spPr/>
    </dgm:pt>
    <dgm:pt modelId="{EA44C6DC-986D-4186-ADD7-4BB63E80C046}" type="pres">
      <dgm:prSet presAssocID="{80C3D08C-BA48-4291-90C5-A48E93EB35B3}" presName="rootConnector3" presStyleLbl="asst1" presStyleIdx="0" presStyleCnt="1"/>
      <dgm:spPr/>
    </dgm:pt>
    <dgm:pt modelId="{E6550031-DFD4-495D-8A6A-38F90F5BA6A2}" type="pres">
      <dgm:prSet presAssocID="{80C3D08C-BA48-4291-90C5-A48E93EB35B3}" presName="hierChild6" presStyleCnt="0"/>
      <dgm:spPr/>
    </dgm:pt>
    <dgm:pt modelId="{0697CB8E-005A-4263-9A6A-D2230FDA6714}" type="pres">
      <dgm:prSet presAssocID="{80C3D08C-BA48-4291-90C5-A48E93EB35B3}" presName="hierChild7" presStyleCnt="0"/>
      <dgm:spPr/>
    </dgm:pt>
  </dgm:ptLst>
  <dgm:cxnLst>
    <dgm:cxn modelId="{BBA50101-3326-4C50-978E-5B268D14DB7B}" srcId="{A93202A1-CE4D-4BC9-BA78-7650E7C04C8E}" destId="{6E0AFFC8-C6E5-44B5-BE24-8A2CF2C55E95}" srcOrd="4" destOrd="0" parTransId="{F6F70786-7616-4969-983A-DB65EF5965BA}" sibTransId="{4BBD7F6A-0992-47E8-8235-1BF1028BEF03}"/>
    <dgm:cxn modelId="{2D14C001-BA76-4A5A-99C6-483FB8737627}" srcId="{A93202A1-CE4D-4BC9-BA78-7650E7C04C8E}" destId="{BCD1279A-5873-4D67-86F0-776588CAF479}" srcOrd="3" destOrd="0" parTransId="{6A0C9252-4E80-4788-9325-461D0A5630FC}" sibTransId="{ACE0C828-2C79-4CB4-A9D2-96773E0061F1}"/>
    <dgm:cxn modelId="{BD18C001-5261-4983-8E24-EF72524D8008}" type="presOf" srcId="{F78870A4-1642-477C-8D83-BB7AE2D8778F}" destId="{1CE07665-C021-421E-A3D4-3DB74C79A17E}" srcOrd="1" destOrd="0" presId="urn:microsoft.com/office/officeart/2005/8/layout/orgChart1"/>
    <dgm:cxn modelId="{79F5E902-00D3-4F09-ACF9-36A468FE09CA}" type="presOf" srcId="{881C056E-358F-4369-A895-67B9839ABDBB}" destId="{A707C2F0-4EDB-496F-A1E6-246D6C81C19B}" srcOrd="1" destOrd="0" presId="urn:microsoft.com/office/officeart/2005/8/layout/orgChart1"/>
    <dgm:cxn modelId="{31BF7103-0250-41FC-8ABB-453DAE0E65AE}" type="presOf" srcId="{AFDE826A-4DF7-4076-AB63-628A989BFADB}" destId="{B977E33C-0EDB-492A-B461-1CDE1588BD1F}" srcOrd="0" destOrd="0" presId="urn:microsoft.com/office/officeart/2005/8/layout/orgChart1"/>
    <dgm:cxn modelId="{5AA0CB04-5620-476F-A07A-D0FE3D442AD5}" type="presOf" srcId="{3E480A70-DB61-455B-B3F2-246DA7C51980}" destId="{3BE436A4-B670-41F1-81F8-86C8B4D16C28}" srcOrd="1" destOrd="0" presId="urn:microsoft.com/office/officeart/2005/8/layout/orgChart1"/>
    <dgm:cxn modelId="{66097505-0343-4E42-B7A7-825CC5C4E8D7}" type="presOf" srcId="{6A0C9252-4E80-4788-9325-461D0A5630FC}" destId="{250A9133-9D8D-4311-B630-97F271835AC4}" srcOrd="0" destOrd="0" presId="urn:microsoft.com/office/officeart/2005/8/layout/orgChart1"/>
    <dgm:cxn modelId="{6AD60407-8188-497C-96EE-63B13684B67E}" srcId="{200D367A-2165-43C8-8729-16CFF9B268A5}" destId="{19A7B5C4-7D06-42AD-95E8-D6A498E0C1F5}" srcOrd="3" destOrd="0" parTransId="{60CB21AC-B29E-4A68-9B32-AA07A1637142}" sibTransId="{3C639E00-1076-44BD-AF65-BA8DB3EB4B47}"/>
    <dgm:cxn modelId="{1C010607-C255-4018-9121-562AD2BE67C2}" type="presOf" srcId="{80C3D08C-BA48-4291-90C5-A48E93EB35B3}" destId="{EA44C6DC-986D-4186-ADD7-4BB63E80C046}" srcOrd="1" destOrd="0" presId="urn:microsoft.com/office/officeart/2005/8/layout/orgChart1"/>
    <dgm:cxn modelId="{8F272A08-D3E3-4606-AADE-A27AB13C1D13}" type="presOf" srcId="{9B8E5F36-1EE9-45C8-A640-27EE6BEF5368}" destId="{E5174214-8A6F-4F8D-9321-931538E76622}" srcOrd="0" destOrd="0" presId="urn:microsoft.com/office/officeart/2005/8/layout/orgChart1"/>
    <dgm:cxn modelId="{770FCE0B-4A72-4976-9614-96C82520FF47}" type="presOf" srcId="{D6BAAD51-6D9A-40E0-AD9D-B734C4FDF966}" destId="{A4DC5E7E-7FFB-491A-A011-1EE689893E3C}" srcOrd="1" destOrd="0" presId="urn:microsoft.com/office/officeart/2005/8/layout/orgChart1"/>
    <dgm:cxn modelId="{D9C5570D-6046-42D3-B066-E06C8A9A765C}" type="presOf" srcId="{200D367A-2165-43C8-8729-16CFF9B268A5}" destId="{21807A1A-3696-41C7-81CF-3CD5F424C793}" srcOrd="1" destOrd="0" presId="urn:microsoft.com/office/officeart/2005/8/layout/orgChart1"/>
    <dgm:cxn modelId="{D0BE8E0D-ED7E-4544-9BB3-99FB3A052A88}" type="presOf" srcId="{C6F8BAD1-62F6-4152-B44E-59BF9ABF9467}" destId="{7C86C788-A923-4057-A306-2ABF7FB878FF}" srcOrd="1" destOrd="0" presId="urn:microsoft.com/office/officeart/2005/8/layout/orgChart1"/>
    <dgm:cxn modelId="{6CAA320E-D954-42FB-BF9F-7E42B9360DA3}" srcId="{9B8E5F36-1EE9-45C8-A640-27EE6BEF5368}" destId="{80C3D08C-BA48-4291-90C5-A48E93EB35B3}" srcOrd="7" destOrd="0" parTransId="{9EAAC56C-ABB1-4ABE-9782-69B391452E7D}" sibTransId="{9E9ADE32-5185-4B1B-9D57-5D0DB12D8A97}"/>
    <dgm:cxn modelId="{32C96716-61E5-4828-98E1-D6CE271C41A4}" type="presOf" srcId="{60CB21AC-B29E-4A68-9B32-AA07A1637142}" destId="{61D347BC-BDA0-475C-9A50-42A81474D152}" srcOrd="0" destOrd="0" presId="urn:microsoft.com/office/officeart/2005/8/layout/orgChart1"/>
    <dgm:cxn modelId="{62029517-28B8-48EE-94C1-E64ECA8FC2B7}" type="presOf" srcId="{9EAAC56C-ABB1-4ABE-9782-69B391452E7D}" destId="{7F2DFE19-462D-4DFA-A414-D8D869C47705}" srcOrd="0" destOrd="0" presId="urn:microsoft.com/office/officeart/2005/8/layout/orgChart1"/>
    <dgm:cxn modelId="{2D9C0019-9E54-4370-8C08-8EBB6744F2A2}" type="presOf" srcId="{E2585C12-F5E8-40D5-B205-17F878E8B1CD}" destId="{C800D746-0C23-4916-BC92-CA6BD5AB7E8C}" srcOrd="0" destOrd="0" presId="urn:microsoft.com/office/officeart/2005/8/layout/orgChart1"/>
    <dgm:cxn modelId="{32B5FC19-79F2-4666-B6BF-A563BCAB2210}" type="presOf" srcId="{D6BAAD51-6D9A-40E0-AD9D-B734C4FDF966}" destId="{7ED57EB1-2472-4F01-953B-811AA4FAE120}" srcOrd="0" destOrd="0" presId="urn:microsoft.com/office/officeart/2005/8/layout/orgChart1"/>
    <dgm:cxn modelId="{E633D21B-03CB-4304-85A1-3D0085BD3AFA}" srcId="{C37F06D4-C81E-480A-989F-E1D7B0240442}" destId="{C6F8BAD1-62F6-4152-B44E-59BF9ABF9467}" srcOrd="2" destOrd="0" parTransId="{8922D300-9116-4AB0-A209-02CE19882177}" sibTransId="{62AD3073-05B7-42F8-B896-A4C486637A52}"/>
    <dgm:cxn modelId="{C08D871C-CEBE-4D6A-A9D5-8B7C9754DDCC}" type="presOf" srcId="{3944A31C-0531-457A-92CC-8EDE1C6BBFC6}" destId="{5B423CE2-3EA8-451A-98BA-BA5AD19CC72C}" srcOrd="0" destOrd="0" presId="urn:microsoft.com/office/officeart/2005/8/layout/orgChart1"/>
    <dgm:cxn modelId="{15A2C81D-1FD1-4C04-8219-320A138E285B}" type="presOf" srcId="{BCD1279A-5873-4D67-86F0-776588CAF479}" destId="{23EA9E9C-1BF7-4136-9649-5BAB37A17FCC}" srcOrd="1" destOrd="0" presId="urn:microsoft.com/office/officeart/2005/8/layout/orgChart1"/>
    <dgm:cxn modelId="{62FEF61F-9C21-4D72-95C4-9F55DD5283F4}" type="presOf" srcId="{FA8CF6DF-C964-41AE-944A-5C20FF2E5240}" destId="{E26CAFBA-14DC-42D2-8031-5C4FB32005D0}" srcOrd="0" destOrd="0" presId="urn:microsoft.com/office/officeart/2005/8/layout/orgChart1"/>
    <dgm:cxn modelId="{FA285D21-4879-48E0-AB82-FD15405182CC}" srcId="{F2DCD629-1E4F-4956-840B-35D08E96CDCD}" destId="{53EB81D0-25B0-456A-8879-D1D96A5BFF7A}" srcOrd="0" destOrd="0" parTransId="{B1117BAA-870F-413A-809C-9CF780F2B148}" sibTransId="{3A94F34F-5B91-4E7C-AC15-DD87CFDC23EC}"/>
    <dgm:cxn modelId="{65F4A624-D1D8-4B86-A3BA-6232F353C980}" type="presOf" srcId="{F2DCD629-1E4F-4956-840B-35D08E96CDCD}" destId="{A0EF915C-80E5-44F8-B5D1-09F69E707861}" srcOrd="0" destOrd="0" presId="urn:microsoft.com/office/officeart/2005/8/layout/orgChart1"/>
    <dgm:cxn modelId="{A4989628-070E-409A-974F-632B5F7BE0FD}" type="presOf" srcId="{D1DB8F1C-1274-466D-88FA-AB5DF2081545}" destId="{0CB9C99B-DEFA-4966-8CF8-DA68B4784DC0}" srcOrd="1" destOrd="0" presId="urn:microsoft.com/office/officeart/2005/8/layout/orgChart1"/>
    <dgm:cxn modelId="{F5AAEC28-F4B0-461D-A8CA-192C9CD04FFA}" type="presOf" srcId="{7BEB2808-76D2-4757-9912-20F25BEE4042}" destId="{84C6D8A1-B11E-4FD3-A4DC-1A2A0DD7142D}" srcOrd="1" destOrd="0" presId="urn:microsoft.com/office/officeart/2005/8/layout/orgChart1"/>
    <dgm:cxn modelId="{67390C2A-6B38-4854-863B-4F3A7228711A}" type="presOf" srcId="{BCD1279A-5873-4D67-86F0-776588CAF479}" destId="{143A7E81-6929-4607-AA46-C69C90FB6EA4}" srcOrd="0" destOrd="0" presId="urn:microsoft.com/office/officeart/2005/8/layout/orgChart1"/>
    <dgm:cxn modelId="{E2201E2A-300C-46C3-888E-420C49E1883A}" type="presOf" srcId="{3AEE0ECF-74C1-4B9A-BAE8-53E0C57BA493}" destId="{D8EBB029-4CCB-4D7E-8909-4C9F507E5D5E}" srcOrd="1" destOrd="0" presId="urn:microsoft.com/office/officeart/2005/8/layout/orgChart1"/>
    <dgm:cxn modelId="{4D77F52C-845F-412F-88EB-9B5F57AD1D3C}" type="presOf" srcId="{BE4ACDA4-B29E-473C-900D-25832CA6A773}" destId="{4C69988B-0EA9-4A05-9EEB-0C6FEC68456E}" srcOrd="0" destOrd="0" presId="urn:microsoft.com/office/officeart/2005/8/layout/orgChart1"/>
    <dgm:cxn modelId="{194E732D-A006-482B-BE0B-6D1C3C3E87E1}" srcId="{3944A31C-0531-457A-92CC-8EDE1C6BBFC6}" destId="{D6BAAD51-6D9A-40E0-AD9D-B734C4FDF966}" srcOrd="3" destOrd="0" parTransId="{1EA23CB6-06C5-4CA2-9D02-5ADCA917C6C7}" sibTransId="{87A9091C-D68C-4241-BD26-69A52FDB001A}"/>
    <dgm:cxn modelId="{56E62430-5012-437D-8C6D-9371AF4F4C0A}" type="presOf" srcId="{53EB81D0-25B0-456A-8879-D1D96A5BFF7A}" destId="{F3038452-84FB-4BC5-B98C-3BC4081B88F9}" srcOrd="1" destOrd="0" presId="urn:microsoft.com/office/officeart/2005/8/layout/orgChart1"/>
    <dgm:cxn modelId="{FDE09D30-CD1D-4B5E-81AF-8950538C8825}" srcId="{C37F06D4-C81E-480A-989F-E1D7B0240442}" destId="{6EA2378E-B82E-4605-9240-D5C8A38F82ED}" srcOrd="0" destOrd="0" parTransId="{3B9BFF46-864C-4EFD-9B3C-399A03985096}" sibTransId="{E228A8B7-13FD-4B49-AC22-16EF09EFCCAF}"/>
    <dgm:cxn modelId="{923BE230-43F4-4992-8AE6-35C575738CB3}" type="presOf" srcId="{D7054D47-298B-49C3-A912-8930EF26DAB4}" destId="{D7E08824-7192-4473-81A9-8208719BFD7A}" srcOrd="0" destOrd="0" presId="urn:microsoft.com/office/officeart/2005/8/layout/orgChart1"/>
    <dgm:cxn modelId="{D7A29131-DC92-4A0A-A45A-9FC96A43A306}" type="presOf" srcId="{469A4666-6E61-4716-A87B-C8F4E731341B}" destId="{9144A605-AB1F-4BDE-9483-8BAC6B423B0C}" srcOrd="0" destOrd="0" presId="urn:microsoft.com/office/officeart/2005/8/layout/orgChart1"/>
    <dgm:cxn modelId="{1C4C6E33-0C64-456B-AF7F-2053DD744466}" type="presOf" srcId="{4D209FE0-D477-42B5-8E58-A7C9F9650C3A}" destId="{D6768F99-5E3D-414F-A50B-A37026827B9E}" srcOrd="0" destOrd="0" presId="urn:microsoft.com/office/officeart/2005/8/layout/orgChart1"/>
    <dgm:cxn modelId="{C2803B37-E107-4739-9CFB-2323073328A1}" srcId="{9B8E5F36-1EE9-45C8-A640-27EE6BEF5368}" destId="{F2DCD629-1E4F-4956-840B-35D08E96CDCD}" srcOrd="6" destOrd="0" parTransId="{4D209FE0-D477-42B5-8E58-A7C9F9650C3A}" sibTransId="{F11FA2F2-F85F-4FE8-9C8A-A6DCED5A5D09}"/>
    <dgm:cxn modelId="{55E76737-8EE6-4F03-973F-CED8D0613785}" type="presOf" srcId="{4A14E33A-B702-403B-B3F6-CFE13D9EC840}" destId="{7C3DF0A3-8FEA-40ED-83F8-EABF46B90358}" srcOrd="0" destOrd="0" presId="urn:microsoft.com/office/officeart/2005/8/layout/orgChart1"/>
    <dgm:cxn modelId="{49DACE3C-B6E4-40BC-990D-E1EBA7E27B12}" srcId="{A93202A1-CE4D-4BC9-BA78-7650E7C04C8E}" destId="{FF20BD5F-6797-4C2D-BEC0-4958AB9C2E6F}" srcOrd="1" destOrd="0" parTransId="{3A97FC3B-2765-4AC5-88F6-41A7CFA905E8}" sibTransId="{FCB6AAE6-F1FE-4650-A510-3BD0CF7E8476}"/>
    <dgm:cxn modelId="{9226093E-5767-4AB5-9DE8-101409C5CA6B}" type="presOf" srcId="{7BEB2808-76D2-4757-9912-20F25BEE4042}" destId="{4FD35315-35F9-4765-831B-397662970EA7}" srcOrd="0" destOrd="0" presId="urn:microsoft.com/office/officeart/2005/8/layout/orgChart1"/>
    <dgm:cxn modelId="{3C45163E-778F-4F41-A8D1-F5F0D03D5AEA}" type="presOf" srcId="{BB5C4824-B771-4AFA-9970-0592CD2A8009}" destId="{B2099FD3-525B-402D-9420-2A76F94894F4}" srcOrd="0" destOrd="0" presId="urn:microsoft.com/office/officeart/2005/8/layout/orgChart1"/>
    <dgm:cxn modelId="{70E43D40-EDEF-45B0-A5BA-ABEF8177DA8B}" type="presOf" srcId="{B4FA8ABA-80BA-42AF-8C76-70E49F324901}" destId="{19830783-0C76-48C1-8BC9-2D257A2854D5}" srcOrd="0" destOrd="0" presId="urn:microsoft.com/office/officeart/2005/8/layout/orgChart1"/>
    <dgm:cxn modelId="{60485C5D-98A2-417C-B593-BCD16EBDC50F}" type="presOf" srcId="{8D3E331E-9B54-4E8F-BA17-12217B5CA513}" destId="{9EE31B11-A3E5-457D-8905-7940DD947FFB}" srcOrd="0" destOrd="0" presId="urn:microsoft.com/office/officeart/2005/8/layout/orgChart1"/>
    <dgm:cxn modelId="{DD0F755D-6518-43CD-BBAF-33FB3C0711C4}" type="presOf" srcId="{0FC586FF-F0B2-4C5D-B7EA-832DE73AB876}" destId="{96CB8695-6A6F-4110-9BA8-3B7811DB9BFA}" srcOrd="0" destOrd="0" presId="urn:microsoft.com/office/officeart/2005/8/layout/orgChart1"/>
    <dgm:cxn modelId="{105C575E-5B7D-4E5A-AD4B-01E6462997C3}" srcId="{3944A31C-0531-457A-92CC-8EDE1C6BBFC6}" destId="{D1DB8F1C-1274-466D-88FA-AB5DF2081545}" srcOrd="0" destOrd="0" parTransId="{CA1943AE-2D36-4200-80AB-B1E9659A06D8}" sibTransId="{B6E76378-3E47-40DB-886A-EFB9E2003F24}"/>
    <dgm:cxn modelId="{35EA2C41-8092-474C-BBEF-30D79D46CD23}" type="presOf" srcId="{C37F06D4-C81E-480A-989F-E1D7B0240442}" destId="{1B75F6CF-10F1-4BB1-990C-DE7440726501}" srcOrd="1" destOrd="0" presId="urn:microsoft.com/office/officeart/2005/8/layout/orgChart1"/>
    <dgm:cxn modelId="{4CEA0445-E2EF-43A2-B517-8642C12C1252}" type="presOf" srcId="{53EB81D0-25B0-456A-8879-D1D96A5BFF7A}" destId="{93D5BFBD-AF38-4246-A7FC-4D7CCB71F081}" srcOrd="0" destOrd="0" presId="urn:microsoft.com/office/officeart/2005/8/layout/orgChart1"/>
    <dgm:cxn modelId="{5160BA45-5773-4B89-9CF8-1A63342D61E9}" type="presOf" srcId="{53A1240D-363B-4BF3-B177-1603845DDCBC}" destId="{E0FAF68D-CACD-42F2-9902-31D2604C115A}" srcOrd="1" destOrd="0" presId="urn:microsoft.com/office/officeart/2005/8/layout/orgChart1"/>
    <dgm:cxn modelId="{3FDA0C66-AAFC-48CF-B9D3-4F7311978951}" type="presOf" srcId="{AFDE826A-4DF7-4076-AB63-628A989BFADB}" destId="{FA4B6867-7D3F-4F47-98F6-0DC28610D6ED}" srcOrd="1" destOrd="0" presId="urn:microsoft.com/office/officeart/2005/8/layout/orgChart1"/>
    <dgm:cxn modelId="{12B42746-AE3A-4913-B803-5DA808F26F47}" type="presOf" srcId="{E399E0B0-7783-4B4C-A645-8AE602B7A728}" destId="{1C3D7A11-8356-43AE-9658-1D6F345305D9}" srcOrd="0" destOrd="0" presId="urn:microsoft.com/office/officeart/2005/8/layout/orgChart1"/>
    <dgm:cxn modelId="{F8E0EF46-62EF-4376-B55D-E4696D55182E}" srcId="{3944A31C-0531-457A-92CC-8EDE1C6BBFC6}" destId="{4A14E33A-B702-403B-B3F6-CFE13D9EC840}" srcOrd="1" destOrd="0" parTransId="{40766722-5CC4-45C6-BBEB-B0A232E51BD1}" sibTransId="{6DCFE13E-D83E-4BF8-B73A-EE3463BE16F2}"/>
    <dgm:cxn modelId="{12077467-1F26-40E4-B5A7-F9B1FE9A7512}" type="presOf" srcId="{DD07F746-CF3B-477D-80EB-3BD98C0A7859}" destId="{D8A7B2E2-06DB-4090-8343-B936C255ADB5}" srcOrd="1" destOrd="0" presId="urn:microsoft.com/office/officeart/2005/8/layout/orgChart1"/>
    <dgm:cxn modelId="{7C4B2D68-87EF-4C01-AF36-17A570AA7B64}" srcId="{200D367A-2165-43C8-8729-16CFF9B268A5}" destId="{E2585C12-F5E8-40D5-B205-17F878E8B1CD}" srcOrd="1" destOrd="0" parTransId="{F783B4AB-D182-4A09-B696-7538487740FA}" sibTransId="{691F044F-32D4-44CF-869A-F64E8BBEB560}"/>
    <dgm:cxn modelId="{E2E87669-E5D7-451A-AAEF-F64EF79D764D}" type="presOf" srcId="{6EA2378E-B82E-4605-9240-D5C8A38F82ED}" destId="{71902094-5092-4624-B4C9-2C30E27A902D}" srcOrd="1" destOrd="0" presId="urn:microsoft.com/office/officeart/2005/8/layout/orgChart1"/>
    <dgm:cxn modelId="{EAC3364B-9073-437A-B54C-00EFBF822CCD}" type="presOf" srcId="{343F1FF7-75AA-4639-B94D-D2CDEB90FD16}" destId="{6A6731EC-0AD9-46C0-89AD-E299781C5278}" srcOrd="1" destOrd="0" presId="urn:microsoft.com/office/officeart/2005/8/layout/orgChart1"/>
    <dgm:cxn modelId="{4A908A6B-6B7B-47D8-BD85-C726B11E9D57}" type="presOf" srcId="{E71431E9-C527-47EB-8E13-05A24953942C}" destId="{6E525170-A72B-4FEC-B03A-89E321F9442F}" srcOrd="1" destOrd="0" presId="urn:microsoft.com/office/officeart/2005/8/layout/orgChart1"/>
    <dgm:cxn modelId="{3A30444C-3253-476D-9D82-7194D103D18F}" srcId="{881C056E-358F-4369-A895-67B9839ABDBB}" destId="{E71431E9-C527-47EB-8E13-05A24953942C}" srcOrd="1" destOrd="0" parTransId="{617EFD01-FFFE-42A5-8E4E-71098711255E}" sibTransId="{4691692A-F939-4514-953B-4EBA4E6D3903}"/>
    <dgm:cxn modelId="{F9CAB56C-846B-45B6-813A-89C9315C6D0E}" type="presOf" srcId="{BE4ACDA4-B29E-473C-900D-25832CA6A773}" destId="{6CB9BB3E-A5AE-4D9E-9D20-0E1EDB55FD30}" srcOrd="1" destOrd="0" presId="urn:microsoft.com/office/officeart/2005/8/layout/orgChart1"/>
    <dgm:cxn modelId="{BB21E26C-0ECA-4718-B38B-06F176EDD9E7}" type="presOf" srcId="{3944A31C-0531-457A-92CC-8EDE1C6BBFC6}" destId="{D06E63B4-5854-4E04-8E15-37A704E376D1}" srcOrd="1" destOrd="0" presId="urn:microsoft.com/office/officeart/2005/8/layout/orgChart1"/>
    <dgm:cxn modelId="{755F036E-8C94-4688-B595-F84D7EC8A36F}" srcId="{C37F06D4-C81E-480A-989F-E1D7B0240442}" destId="{BE4ACDA4-B29E-473C-900D-25832CA6A773}" srcOrd="3" destOrd="0" parTransId="{8D3E331E-9B54-4E8F-BA17-12217B5CA513}" sibTransId="{F85E0EE6-F04A-4721-9263-6E0F931F79EE}"/>
    <dgm:cxn modelId="{B9E91C6E-EF29-4211-84E5-E81C2A5A8DC5}" type="presOf" srcId="{343F1FF7-75AA-4639-B94D-D2CDEB90FD16}" destId="{C8014A0F-230A-4A1A-AC06-9EE93A2C745D}" srcOrd="0" destOrd="0" presId="urn:microsoft.com/office/officeart/2005/8/layout/orgChart1"/>
    <dgm:cxn modelId="{9DAF6C6E-341B-4B87-99EE-E7DEB47FEC8A}" srcId="{C37F06D4-C81E-480A-989F-E1D7B0240442}" destId="{3E480A70-DB61-455B-B3F2-246DA7C51980}" srcOrd="1" destOrd="0" parTransId="{4D68F843-3FE9-4FD1-94CA-011DED783A7E}" sibTransId="{869967C6-BF7C-43CC-83A3-9B6671CB3B8B}"/>
    <dgm:cxn modelId="{CB4FAA6E-7CDD-460D-B678-99115A75970F}" type="presOf" srcId="{AE331F4A-5395-4A90-9E4D-C2321587FA20}" destId="{8E5188D2-2BEF-43EE-B3B4-908BC6E7B2D7}" srcOrd="1" destOrd="0" presId="urn:microsoft.com/office/officeart/2005/8/layout/orgChart1"/>
    <dgm:cxn modelId="{96FE2772-8374-4025-A989-AE8D8387A49B}" type="presOf" srcId="{F783B4AB-D182-4A09-B696-7538487740FA}" destId="{A5D6B534-17B7-4E2A-A82A-2E65B6138EBD}" srcOrd="0" destOrd="0" presId="urn:microsoft.com/office/officeart/2005/8/layout/orgChart1"/>
    <dgm:cxn modelId="{3AA94053-7A11-4678-8DD5-B7A5F5C3B083}" type="presOf" srcId="{D34F50E5-FEF8-4851-B41E-210D5389D17F}" destId="{AD5C7879-5F61-4417-AEE3-E597C9F7323E}" srcOrd="1" destOrd="0" presId="urn:microsoft.com/office/officeart/2005/8/layout/orgChart1"/>
    <dgm:cxn modelId="{09685E74-B22D-43E0-B094-4600972F9DE3}" type="presOf" srcId="{39762767-44C1-4F0D-889A-0F1C25131481}" destId="{65798E84-1826-453D-8899-27D1D6D293F1}" srcOrd="0" destOrd="0" presId="urn:microsoft.com/office/officeart/2005/8/layout/orgChart1"/>
    <dgm:cxn modelId="{72C77154-994F-4B27-8ACC-34E42D3D96FD}" srcId="{9B8E5F36-1EE9-45C8-A640-27EE6BEF5368}" destId="{C37F06D4-C81E-480A-989F-E1D7B0240442}" srcOrd="5" destOrd="0" parTransId="{469A4666-6E61-4716-A87B-C8F4E731341B}" sibTransId="{1F9F64C1-7192-47C6-AE68-BBF6FA1B2A42}"/>
    <dgm:cxn modelId="{829B4956-F9BE-4CFB-B17E-49EADFB7F135}" srcId="{200D367A-2165-43C8-8729-16CFF9B268A5}" destId="{AE331F4A-5395-4A90-9E4D-C2321587FA20}" srcOrd="2" destOrd="0" parTransId="{35DE3FB7-C27A-48F0-8A0F-E44CE84CCA68}" sibTransId="{15D003E8-DE5D-4AD9-AEC4-67AD87EB51F7}"/>
    <dgm:cxn modelId="{912ACB76-574E-4ADC-B037-4244CE210D32}" type="presOf" srcId="{1EA23CB6-06C5-4CA2-9D02-5ADCA917C6C7}" destId="{BEC05370-522E-4EA7-9278-63D9BA2E3AE1}" srcOrd="0" destOrd="0" presId="urn:microsoft.com/office/officeart/2005/8/layout/orgChart1"/>
    <dgm:cxn modelId="{D8DBBF58-21F0-4393-A16F-55BD0CDCDF1C}" type="presOf" srcId="{19A7B5C4-7D06-42AD-95E8-D6A498E0C1F5}" destId="{7E4AEF42-AF6B-49DC-974C-72A28A676FB5}" srcOrd="1" destOrd="0" presId="urn:microsoft.com/office/officeart/2005/8/layout/orgChart1"/>
    <dgm:cxn modelId="{30BC5B59-8217-4D91-A9DD-E3C950C9E1A5}" srcId="{9B8E5F36-1EE9-45C8-A640-27EE6BEF5368}" destId="{A93202A1-CE4D-4BC9-BA78-7650E7C04C8E}" srcOrd="2" destOrd="0" parTransId="{D4CC20A5-0263-4C1E-BD2D-03EE3D076370}" sibTransId="{8AD62688-957D-43A9-8FE6-24CA2FD22824}"/>
    <dgm:cxn modelId="{198DC359-0727-4530-AE04-9C62CC91FC40}" srcId="{BB5C4824-B771-4AFA-9970-0592CD2A8009}" destId="{9B8E5F36-1EE9-45C8-A640-27EE6BEF5368}" srcOrd="0" destOrd="0" parTransId="{B593A91E-8844-4E73-9DC7-52855BFE0D7E}" sibTransId="{D90902B2-9384-4978-A149-9AAFFD3299B4}"/>
    <dgm:cxn modelId="{242AB77F-42B8-4B31-91C4-D640312D6622}" srcId="{A93202A1-CE4D-4BC9-BA78-7650E7C04C8E}" destId="{DD07F746-CF3B-477D-80EB-3BD98C0A7859}" srcOrd="0" destOrd="0" parTransId="{72AE1587-3B82-46F6-BEC2-CF26023F62BD}" sibTransId="{CD19691B-7248-4BB5-8856-CDB5DB9A3F2F}"/>
    <dgm:cxn modelId="{54493B81-5DA8-4E37-8502-2EB08242577D}" type="presOf" srcId="{6EA2378E-B82E-4605-9240-D5C8A38F82ED}" destId="{FA5E02E9-F288-4B6B-BCBF-D0335BE074CF}" srcOrd="0" destOrd="0" presId="urn:microsoft.com/office/officeart/2005/8/layout/orgChart1"/>
    <dgm:cxn modelId="{0265D582-0556-4374-AB11-A76714C5BA0C}" type="presOf" srcId="{D34F50E5-FEF8-4851-B41E-210D5389D17F}" destId="{1DD5F1FD-8D7D-4784-9C4B-DCADAB0414DE}" srcOrd="0" destOrd="0" presId="urn:microsoft.com/office/officeart/2005/8/layout/orgChart1"/>
    <dgm:cxn modelId="{9BDF8684-753E-4057-ADB9-B2190A4BDD8F}" type="presOf" srcId="{B1117BAA-870F-413A-809C-9CF780F2B148}" destId="{4D516AF4-BB54-411B-9A44-A50B23FB734F}" srcOrd="0" destOrd="0" presId="urn:microsoft.com/office/officeart/2005/8/layout/orgChart1"/>
    <dgm:cxn modelId="{93BE9D84-5656-406A-9130-0807F98A7454}" type="presOf" srcId="{8922D300-9116-4AB0-A209-02CE19882177}" destId="{32D3D7C0-6493-4728-B0E1-78CDBAF0ECFA}" srcOrd="0" destOrd="0" presId="urn:microsoft.com/office/officeart/2005/8/layout/orgChart1"/>
    <dgm:cxn modelId="{2F847A85-F49B-4D7B-8B94-BE1EEB26405D}" type="presOf" srcId="{CA1943AE-2D36-4200-80AB-B1E9659A06D8}" destId="{06DC0F00-0C9A-46FD-8174-E5AD753358F4}" srcOrd="0" destOrd="0" presId="urn:microsoft.com/office/officeart/2005/8/layout/orgChart1"/>
    <dgm:cxn modelId="{4F3BDC88-9213-4B2B-9E16-F7D2FFD62593}" type="presOf" srcId="{9B8E5F36-1EE9-45C8-A640-27EE6BEF5368}" destId="{96A67253-6ED5-4307-A085-CFC4875681D5}" srcOrd="1" destOrd="0" presId="urn:microsoft.com/office/officeart/2005/8/layout/orgChart1"/>
    <dgm:cxn modelId="{4245768A-4320-4A4C-BB95-365510B7B644}" type="presOf" srcId="{6C18CC18-C8A8-4E37-BF56-3D55007F9E0A}" destId="{33506941-B4E1-473E-86D6-E1D64C16E617}" srcOrd="0" destOrd="0" presId="urn:microsoft.com/office/officeart/2005/8/layout/orgChart1"/>
    <dgm:cxn modelId="{304ADE8A-F708-4CF5-B2C7-E90F2750BAAD}" type="presOf" srcId="{617EFD01-FFFE-42A5-8E4E-71098711255E}" destId="{60A9A5CD-1D47-4727-9FE2-7E521C06E179}" srcOrd="0" destOrd="0" presId="urn:microsoft.com/office/officeart/2005/8/layout/orgChart1"/>
    <dgm:cxn modelId="{C906648D-2644-4DC8-9778-579C70EA37B3}" type="presOf" srcId="{19A7B5C4-7D06-42AD-95E8-D6A498E0C1F5}" destId="{0BD3DD64-59B2-4E23-A3E9-C228E9C15727}" srcOrd="0" destOrd="0" presId="urn:microsoft.com/office/officeart/2005/8/layout/orgChart1"/>
    <dgm:cxn modelId="{50E32F91-5057-456D-A01C-474EC5E675DD}" type="presOf" srcId="{A93202A1-CE4D-4BC9-BA78-7650E7C04C8E}" destId="{D866FCE2-941B-47AB-B780-B59924BC9605}" srcOrd="1" destOrd="0" presId="urn:microsoft.com/office/officeart/2005/8/layout/orgChart1"/>
    <dgm:cxn modelId="{7F6FC292-F83E-4082-B9B3-9A190A72FECD}" type="presOf" srcId="{80C3D08C-BA48-4291-90C5-A48E93EB35B3}" destId="{E2772E75-7AEC-4F34-A7C3-CBFE335FD143}" srcOrd="0" destOrd="0" presId="urn:microsoft.com/office/officeart/2005/8/layout/orgChart1"/>
    <dgm:cxn modelId="{94CB3294-5D94-4585-AFD7-2A55C0DA62CF}" type="presOf" srcId="{72AE1587-3B82-46F6-BEC2-CF26023F62BD}" destId="{230EB70D-8B66-444D-AF14-9665ED459AB4}" srcOrd="0" destOrd="0" presId="urn:microsoft.com/office/officeart/2005/8/layout/orgChart1"/>
    <dgm:cxn modelId="{8E9DFA97-0428-4AE1-B53D-1CD6C2970CF7}" srcId="{200D367A-2165-43C8-8729-16CFF9B268A5}" destId="{F78870A4-1642-477C-8D83-BB7AE2D8778F}" srcOrd="4" destOrd="0" parTransId="{D8143E05-927E-4F04-8D74-1A21357C3236}" sibTransId="{06CB8802-10B9-4F6A-A48A-91F10CBB30B8}"/>
    <dgm:cxn modelId="{7A5FB39B-E728-45F6-8AED-A02BF2338821}" srcId="{9B8E5F36-1EE9-45C8-A640-27EE6BEF5368}" destId="{3944A31C-0531-457A-92CC-8EDE1C6BBFC6}" srcOrd="0" destOrd="0" parTransId="{FA8CF6DF-C964-41AE-944A-5C20FF2E5240}" sibTransId="{D1397D18-FE76-44AA-8B4D-180BF18A3F4E}"/>
    <dgm:cxn modelId="{D05BAE9C-83BA-4110-B1CA-60FDAE3A282A}" type="presOf" srcId="{D8143E05-927E-4F04-8D74-1A21357C3236}" destId="{685A8324-0154-4BAE-A282-BD7F9874BF84}" srcOrd="0" destOrd="0" presId="urn:microsoft.com/office/officeart/2005/8/layout/orgChart1"/>
    <dgm:cxn modelId="{C2A2279D-F7F7-44FE-92A8-CEBAEED0082E}" type="presOf" srcId="{2BAA3F3F-3FEB-4025-AAC8-C374A2A8BD93}" destId="{CB705D80-A895-46DA-AD3E-30F2C1DEA5B6}" srcOrd="0" destOrd="0" presId="urn:microsoft.com/office/officeart/2005/8/layout/orgChart1"/>
    <dgm:cxn modelId="{74106B9F-C7A1-4805-B613-BA3F1285959B}" srcId="{3944A31C-0531-457A-92CC-8EDE1C6BBFC6}" destId="{AFDE826A-4DF7-4076-AB63-628A989BFADB}" srcOrd="2" destOrd="0" parTransId="{E399E0B0-7783-4B4C-A645-8AE602B7A728}" sibTransId="{89D7F9C1-E3F1-4F28-BC75-09702CDFAE9E}"/>
    <dgm:cxn modelId="{17FF95A2-892D-430A-897B-75E574ECBF43}" srcId="{9B8E5F36-1EE9-45C8-A640-27EE6BEF5368}" destId="{200D367A-2165-43C8-8729-16CFF9B268A5}" srcOrd="1" destOrd="0" parTransId="{361FB684-DD1E-4D25-92DD-B4D7B0EFB3D5}" sibTransId="{F8BB52FF-A5ED-4039-A6E4-79B03C5CE12D}"/>
    <dgm:cxn modelId="{BC5F8DA4-B68F-4443-88F3-2E20B83251D9}" type="presOf" srcId="{3AEE0ECF-74C1-4B9A-BAE8-53E0C57BA493}" destId="{A1C0B929-5955-426C-9B95-62BD7A0741FE}" srcOrd="0" destOrd="0" presId="urn:microsoft.com/office/officeart/2005/8/layout/orgChart1"/>
    <dgm:cxn modelId="{579406AA-B1DD-4D13-B0BA-5C81A4A4644D}" srcId="{9B8E5F36-1EE9-45C8-A640-27EE6BEF5368}" destId="{B4FA8ABA-80BA-42AF-8C76-70E49F324901}" srcOrd="4" destOrd="0" parTransId="{553363F7-1546-4F18-9B75-80D1CE17868E}" sibTransId="{677900F1-B05A-49C8-B481-5F9364CC1129}"/>
    <dgm:cxn modelId="{200C12AC-93D2-4232-B0AC-E64B852D76D7}" type="presOf" srcId="{53A1240D-363B-4BF3-B177-1603845DDCBC}" destId="{5B25FF5A-F170-4059-81E5-9AAFC705E2DF}" srcOrd="0" destOrd="0" presId="urn:microsoft.com/office/officeart/2005/8/layout/orgChart1"/>
    <dgm:cxn modelId="{85573CAF-68D2-459B-A98D-93701408AD3F}" type="presOf" srcId="{AE331F4A-5395-4A90-9E4D-C2321587FA20}" destId="{5E2EC152-1896-4934-BF49-2086A09173DC}" srcOrd="0" destOrd="0" presId="urn:microsoft.com/office/officeart/2005/8/layout/orgChart1"/>
    <dgm:cxn modelId="{B7EEE1B2-3453-4405-9104-A9D95A897C95}" type="presOf" srcId="{B4FA8ABA-80BA-42AF-8C76-70E49F324901}" destId="{0E2D96AF-CBA1-4753-91AC-C1E1A82033E7}" srcOrd="1" destOrd="0" presId="urn:microsoft.com/office/officeart/2005/8/layout/orgChart1"/>
    <dgm:cxn modelId="{72EFCAB3-B0ED-4DF2-8646-51EE97182C08}" type="presOf" srcId="{C37F06D4-C81E-480A-989F-E1D7B0240442}" destId="{EB60B28C-A24A-4083-A999-99822AFE96F0}" srcOrd="0" destOrd="0" presId="urn:microsoft.com/office/officeart/2005/8/layout/orgChart1"/>
    <dgm:cxn modelId="{CDF4BCB4-9BCA-4DB6-808A-2C28A84D09FB}" srcId="{9B8E5F36-1EE9-45C8-A640-27EE6BEF5368}" destId="{881C056E-358F-4369-A895-67B9839ABDBB}" srcOrd="3" destOrd="0" parTransId="{0FC586FF-F0B2-4C5D-B7EA-832DE73AB876}" sibTransId="{2E98D8F0-866C-4B77-A907-16D2A6F6EF4B}"/>
    <dgm:cxn modelId="{A21F4EB7-A052-4624-A13C-AFA929BB7C46}" type="presOf" srcId="{C6F8BAD1-62F6-4152-B44E-59BF9ABF9467}" destId="{17D7E683-F5B8-42A7-9A5E-85AEFC1CA089}" srcOrd="0" destOrd="0" presId="urn:microsoft.com/office/officeart/2005/8/layout/orgChart1"/>
    <dgm:cxn modelId="{223C5FBC-614C-494F-ABEA-9DF658771008}" type="presOf" srcId="{6E0AFFC8-C6E5-44B5-BE24-8A2CF2C55E95}" destId="{D2763E0B-7359-42DF-ACC5-7FE2836EC021}" srcOrd="1" destOrd="0" presId="urn:microsoft.com/office/officeart/2005/8/layout/orgChart1"/>
    <dgm:cxn modelId="{8A1114BD-93FD-442E-B97B-2BC0BC3AA328}" type="presOf" srcId="{361FB684-DD1E-4D25-92DD-B4D7B0EFB3D5}" destId="{88C36A8A-C68D-4121-AD11-91B8B24C2507}" srcOrd="0" destOrd="0" presId="urn:microsoft.com/office/officeart/2005/8/layout/orgChart1"/>
    <dgm:cxn modelId="{1804ABBF-9321-4AD3-A678-DB7FCE24E085}" srcId="{200D367A-2165-43C8-8729-16CFF9B268A5}" destId="{7BEB2808-76D2-4757-9912-20F25BEE4042}" srcOrd="0" destOrd="0" parTransId="{D7054D47-298B-49C3-A912-8930EF26DAB4}" sibTransId="{EC13312B-5C38-4F8F-8F63-3F2E3D5066AB}"/>
    <dgm:cxn modelId="{A48E74C3-EE1D-4B6F-8005-9BF9EA027115}" type="presOf" srcId="{E71431E9-C527-47EB-8E13-05A24953942C}" destId="{0202F198-A412-46DF-A6C4-7BBA642C6935}" srcOrd="0" destOrd="0" presId="urn:microsoft.com/office/officeart/2005/8/layout/orgChart1"/>
    <dgm:cxn modelId="{E5EF7FC5-86FA-4C24-8A14-9DCCC68D17B8}" type="presOf" srcId="{F78870A4-1642-477C-8D83-BB7AE2D8778F}" destId="{6E6D14F6-4F85-4419-9F67-B3B1D3771340}" srcOrd="0" destOrd="0" presId="urn:microsoft.com/office/officeart/2005/8/layout/orgChart1"/>
    <dgm:cxn modelId="{D48C17C7-3F16-4DB4-BE3B-AB6612C68212}" type="presOf" srcId="{4D68F843-3FE9-4FD1-94CA-011DED783A7E}" destId="{AF8958D3-A4FF-4983-847D-5AF58665D963}" srcOrd="0" destOrd="0" presId="urn:microsoft.com/office/officeart/2005/8/layout/orgChart1"/>
    <dgm:cxn modelId="{967565CA-613B-42CE-91BC-C116A76DA702}" type="presOf" srcId="{200D367A-2165-43C8-8729-16CFF9B268A5}" destId="{50058357-DD17-40E3-BD4C-5B6B533A28F1}" srcOrd="0" destOrd="0" presId="urn:microsoft.com/office/officeart/2005/8/layout/orgChart1"/>
    <dgm:cxn modelId="{B62B75CC-0E76-4227-A865-FED1DBAECF81}" type="presOf" srcId="{FF20BD5F-6797-4C2D-BEC0-4958AB9C2E6F}" destId="{0CFBD3E9-BA77-42E2-AA07-779E3729B9D3}" srcOrd="1" destOrd="0" presId="urn:microsoft.com/office/officeart/2005/8/layout/orgChart1"/>
    <dgm:cxn modelId="{9B9792CC-0170-45B3-AA31-CD435B576105}" type="presOf" srcId="{D4CC20A5-0263-4C1E-BD2D-03EE3D076370}" destId="{688DA1DE-8E0B-4E11-A40F-7EEC2C0D9A3E}" srcOrd="0" destOrd="0" presId="urn:microsoft.com/office/officeart/2005/8/layout/orgChart1"/>
    <dgm:cxn modelId="{8CD613CE-DC9E-441C-867D-A877283F4754}" srcId="{881C056E-358F-4369-A895-67B9839ABDBB}" destId="{3AEE0ECF-74C1-4B9A-BAE8-53E0C57BA493}" srcOrd="0" destOrd="0" parTransId="{39762767-44C1-4F0D-889A-0F1C25131481}" sibTransId="{7A944B7E-9509-4FA7-8372-2246B21A26E9}"/>
    <dgm:cxn modelId="{83C613D3-92D2-4360-91C9-61D774896318}" type="presOf" srcId="{35DE3FB7-C27A-48F0-8A0F-E44CE84CCA68}" destId="{0B937F12-F8D7-4C01-9BD1-14E1722C630B}" srcOrd="0" destOrd="0" presId="urn:microsoft.com/office/officeart/2005/8/layout/orgChart1"/>
    <dgm:cxn modelId="{AECF14D3-6838-4532-9DAC-37334BB8C8BC}" type="presOf" srcId="{553363F7-1546-4F18-9B75-80D1CE17868E}" destId="{DA16CD7F-B22A-49A6-91FC-06C0957AF773}" srcOrd="0" destOrd="0" presId="urn:microsoft.com/office/officeart/2005/8/layout/orgChart1"/>
    <dgm:cxn modelId="{372217D4-3680-498D-84AC-F01BE8BF7064}" type="presOf" srcId="{FF20BD5F-6797-4C2D-BEC0-4958AB9C2E6F}" destId="{120F3D84-857A-4C6A-9DE4-5BDC762A1547}" srcOrd="0" destOrd="0" presId="urn:microsoft.com/office/officeart/2005/8/layout/orgChart1"/>
    <dgm:cxn modelId="{9B35ECD4-369A-4168-9E2C-FF6AAC0FEA20}" type="presOf" srcId="{3067244A-7976-4E46-A701-948333CB713C}" destId="{0A4D5908-4001-44D5-97BB-A7CDEDFB1C95}" srcOrd="0" destOrd="0" presId="urn:microsoft.com/office/officeart/2005/8/layout/orgChart1"/>
    <dgm:cxn modelId="{F3980BD7-10C1-4E98-AD36-D7ABC41F9526}" type="presOf" srcId="{6E0AFFC8-C6E5-44B5-BE24-8A2CF2C55E95}" destId="{256FC6BB-DDFA-4616-B4C9-8D4ACC72CD09}" srcOrd="0" destOrd="0" presId="urn:microsoft.com/office/officeart/2005/8/layout/orgChart1"/>
    <dgm:cxn modelId="{14B442D7-A974-47AB-BAA2-A02DF0E08B27}" type="presOf" srcId="{4A14E33A-B702-403B-B3F6-CFE13D9EC840}" destId="{EF89534B-47F8-40AD-9F38-847E29A327C4}" srcOrd="1" destOrd="0" presId="urn:microsoft.com/office/officeart/2005/8/layout/orgChart1"/>
    <dgm:cxn modelId="{D457D5DD-C432-4DB8-A956-A1F85F79F66B}" type="presOf" srcId="{E2585C12-F5E8-40D5-B205-17F878E8B1CD}" destId="{70FA6B3B-1C45-4C14-B6E9-FC7B38443006}" srcOrd="1" destOrd="0" presId="urn:microsoft.com/office/officeart/2005/8/layout/orgChart1"/>
    <dgm:cxn modelId="{2553E8DF-1ABD-4836-935A-D3ACC7BA2D6E}" type="presOf" srcId="{3E480A70-DB61-455B-B3F2-246DA7C51980}" destId="{2AB2ED81-D175-4C8E-A518-63B3BBBCEDAB}" srcOrd="0" destOrd="0" presId="urn:microsoft.com/office/officeart/2005/8/layout/orgChart1"/>
    <dgm:cxn modelId="{5F285DE0-0BCB-4A18-8840-9666978306C1}" type="presOf" srcId="{A93202A1-CE4D-4BC9-BA78-7650E7C04C8E}" destId="{B0D37D22-9103-4AC9-A936-B7B94FF81347}" srcOrd="0" destOrd="0" presId="urn:microsoft.com/office/officeart/2005/8/layout/orgChart1"/>
    <dgm:cxn modelId="{0992EEE5-0EAF-4F43-AFA8-44F9EC1DE528}" type="presOf" srcId="{D1DB8F1C-1274-466D-88FA-AB5DF2081545}" destId="{975F57F8-B84E-4AB1-B42B-028D56D16F0A}" srcOrd="0" destOrd="0" presId="urn:microsoft.com/office/officeart/2005/8/layout/orgChart1"/>
    <dgm:cxn modelId="{074FCEED-6869-4E15-9424-9D3644F82F35}" srcId="{B4FA8ABA-80BA-42AF-8C76-70E49F324901}" destId="{343F1FF7-75AA-4639-B94D-D2CDEB90FD16}" srcOrd="0" destOrd="0" parTransId="{3067244A-7976-4E46-A701-948333CB713C}" sibTransId="{B547AD5B-F28E-494E-8F3C-F1B3EEE43438}"/>
    <dgm:cxn modelId="{9EE927EF-BF93-45B0-96F8-361B0D7B0864}" type="presOf" srcId="{3A97FC3B-2765-4AC5-88F6-41A7CFA905E8}" destId="{9D04B380-04B0-4EB3-BDF0-7C6B8DEA850B}" srcOrd="0" destOrd="0" presId="urn:microsoft.com/office/officeart/2005/8/layout/orgChart1"/>
    <dgm:cxn modelId="{B89B82F3-7207-4269-A108-F5ECC6C434B1}" type="presOf" srcId="{F2DCD629-1E4F-4956-840B-35D08E96CDCD}" destId="{99650056-94D2-4A56-96A9-7822065932B3}" srcOrd="1" destOrd="0" presId="urn:microsoft.com/office/officeart/2005/8/layout/orgChart1"/>
    <dgm:cxn modelId="{9C08DAF3-00F9-4B4D-BA88-F9E710D088DF}" type="presOf" srcId="{3B9BFF46-864C-4EFD-9B3C-399A03985096}" destId="{DBFA3ED4-5F5F-4961-937F-E02834F8E099}" srcOrd="0" destOrd="0" presId="urn:microsoft.com/office/officeart/2005/8/layout/orgChart1"/>
    <dgm:cxn modelId="{08E0EAF4-9474-4D16-9AE2-78B17A1ACD33}" type="presOf" srcId="{881C056E-358F-4369-A895-67B9839ABDBB}" destId="{324D497E-2926-4E34-9096-31A1B24C0144}" srcOrd="0" destOrd="0" presId="urn:microsoft.com/office/officeart/2005/8/layout/orgChart1"/>
    <dgm:cxn modelId="{7EC5DAF9-22DB-447F-8311-0522BF4E65C5}" srcId="{A93202A1-CE4D-4BC9-BA78-7650E7C04C8E}" destId="{53A1240D-363B-4BF3-B177-1603845DDCBC}" srcOrd="2" destOrd="0" parTransId="{2BAA3F3F-3FEB-4025-AAC8-C374A2A8BD93}" sibTransId="{C8A5F159-4651-4531-9257-9827F968F47B}"/>
    <dgm:cxn modelId="{5BF115FA-AD9E-4F9F-A515-7338FAED5057}" type="presOf" srcId="{40766722-5CC4-45C6-BBEB-B0A232E51BD1}" destId="{544D61FC-3C0B-4BE0-9499-3C7855571502}" srcOrd="0" destOrd="0" presId="urn:microsoft.com/office/officeart/2005/8/layout/orgChart1"/>
    <dgm:cxn modelId="{53609FFB-87F5-42A7-B618-90D4C6A39281}" type="presOf" srcId="{F6F70786-7616-4969-983A-DB65EF5965BA}" destId="{529012D5-96CB-4238-9C5C-FCE12B27ABCD}" srcOrd="0" destOrd="0" presId="urn:microsoft.com/office/officeart/2005/8/layout/orgChart1"/>
    <dgm:cxn modelId="{4156A4FF-5A54-411A-B7FA-F0438E39932B}" type="presOf" srcId="{DD07F746-CF3B-477D-80EB-3BD98C0A7859}" destId="{D661967C-C6CB-4B45-99C1-3BC6A007D77F}" srcOrd="0" destOrd="0" presId="urn:microsoft.com/office/officeart/2005/8/layout/orgChart1"/>
    <dgm:cxn modelId="{8ED8E1FF-342E-4564-BE6C-EDB8A5B5224A}" srcId="{3944A31C-0531-457A-92CC-8EDE1C6BBFC6}" destId="{D34F50E5-FEF8-4851-B41E-210D5389D17F}" srcOrd="4" destOrd="0" parTransId="{6C18CC18-C8A8-4E37-BF56-3D55007F9E0A}" sibTransId="{8B9C5BC4-998A-4BC4-83AE-9784432184B3}"/>
    <dgm:cxn modelId="{A008EEB4-5CD4-4A99-8743-AF5181749BED}" type="presParOf" srcId="{B2099FD3-525B-402D-9420-2A76F94894F4}" destId="{22E0A359-25CD-4AF4-BE6D-D17D299DB5A2}" srcOrd="0" destOrd="0" presId="urn:microsoft.com/office/officeart/2005/8/layout/orgChart1"/>
    <dgm:cxn modelId="{5B76FF44-3178-43BE-AF0E-BDE6E6E73666}" type="presParOf" srcId="{22E0A359-25CD-4AF4-BE6D-D17D299DB5A2}" destId="{7B0DADFB-DD50-4BE7-8A83-D4C582F63AA8}" srcOrd="0" destOrd="0" presId="urn:microsoft.com/office/officeart/2005/8/layout/orgChart1"/>
    <dgm:cxn modelId="{70F45E24-6DD5-4732-83F5-504B33CF7F9D}" type="presParOf" srcId="{7B0DADFB-DD50-4BE7-8A83-D4C582F63AA8}" destId="{E5174214-8A6F-4F8D-9321-931538E76622}" srcOrd="0" destOrd="0" presId="urn:microsoft.com/office/officeart/2005/8/layout/orgChart1"/>
    <dgm:cxn modelId="{BC096A7E-340E-433D-832E-807C04D96E52}" type="presParOf" srcId="{7B0DADFB-DD50-4BE7-8A83-D4C582F63AA8}" destId="{96A67253-6ED5-4307-A085-CFC4875681D5}" srcOrd="1" destOrd="0" presId="urn:microsoft.com/office/officeart/2005/8/layout/orgChart1"/>
    <dgm:cxn modelId="{E4CA593F-56C3-4854-9DCF-0CDD8C184EEF}" type="presParOf" srcId="{22E0A359-25CD-4AF4-BE6D-D17D299DB5A2}" destId="{7B197D1A-6162-4FEB-B154-4F7001153217}" srcOrd="1" destOrd="0" presId="urn:microsoft.com/office/officeart/2005/8/layout/orgChart1"/>
    <dgm:cxn modelId="{EE538FB1-2EC5-4894-9EDF-72BF0CD0ACE0}" type="presParOf" srcId="{7B197D1A-6162-4FEB-B154-4F7001153217}" destId="{E26CAFBA-14DC-42D2-8031-5C4FB32005D0}" srcOrd="0" destOrd="0" presId="urn:microsoft.com/office/officeart/2005/8/layout/orgChart1"/>
    <dgm:cxn modelId="{DB349A2F-6C45-42CB-B9D9-92C1A70E9888}" type="presParOf" srcId="{7B197D1A-6162-4FEB-B154-4F7001153217}" destId="{3F006B3C-0E44-4764-A183-F8F4592C1DA8}" srcOrd="1" destOrd="0" presId="urn:microsoft.com/office/officeart/2005/8/layout/orgChart1"/>
    <dgm:cxn modelId="{812C52F1-EF4D-463F-85B4-2A6E15DEA992}" type="presParOf" srcId="{3F006B3C-0E44-4764-A183-F8F4592C1DA8}" destId="{34318689-128E-4246-8C6A-7FC0E9692BBC}" srcOrd="0" destOrd="0" presId="urn:microsoft.com/office/officeart/2005/8/layout/orgChart1"/>
    <dgm:cxn modelId="{3CAAF1AD-D121-49ED-B59E-A856E07EFAA3}" type="presParOf" srcId="{34318689-128E-4246-8C6A-7FC0E9692BBC}" destId="{5B423CE2-3EA8-451A-98BA-BA5AD19CC72C}" srcOrd="0" destOrd="0" presId="urn:microsoft.com/office/officeart/2005/8/layout/orgChart1"/>
    <dgm:cxn modelId="{1AB37720-A788-45A8-8522-0E7C01C2D780}" type="presParOf" srcId="{34318689-128E-4246-8C6A-7FC0E9692BBC}" destId="{D06E63B4-5854-4E04-8E15-37A704E376D1}" srcOrd="1" destOrd="0" presId="urn:microsoft.com/office/officeart/2005/8/layout/orgChart1"/>
    <dgm:cxn modelId="{56C2474A-7ED3-416E-92DC-11042107742C}" type="presParOf" srcId="{3F006B3C-0E44-4764-A183-F8F4592C1DA8}" destId="{3A7CDDC6-DB3A-4C05-9D03-D55A7A5E721C}" srcOrd="1" destOrd="0" presId="urn:microsoft.com/office/officeart/2005/8/layout/orgChart1"/>
    <dgm:cxn modelId="{50CEE2F4-ABFA-4768-A22E-DDC1AE99B64B}" type="presParOf" srcId="{3A7CDDC6-DB3A-4C05-9D03-D55A7A5E721C}" destId="{06DC0F00-0C9A-46FD-8174-E5AD753358F4}" srcOrd="0" destOrd="0" presId="urn:microsoft.com/office/officeart/2005/8/layout/orgChart1"/>
    <dgm:cxn modelId="{7C02EFFE-1211-4C39-96A3-E8B243F20C05}" type="presParOf" srcId="{3A7CDDC6-DB3A-4C05-9D03-D55A7A5E721C}" destId="{B58970C9-95B8-4B26-967C-A1480C04E1D5}" srcOrd="1" destOrd="0" presId="urn:microsoft.com/office/officeart/2005/8/layout/orgChart1"/>
    <dgm:cxn modelId="{DA5610D5-B84F-44E4-A3D6-295CBB762F8C}" type="presParOf" srcId="{B58970C9-95B8-4B26-967C-A1480C04E1D5}" destId="{AE530367-4BA2-4F4E-B0AC-E04D91A0F935}" srcOrd="0" destOrd="0" presId="urn:microsoft.com/office/officeart/2005/8/layout/orgChart1"/>
    <dgm:cxn modelId="{800628AB-5C3C-477F-8FB3-BC753B1B339F}" type="presParOf" srcId="{AE530367-4BA2-4F4E-B0AC-E04D91A0F935}" destId="{975F57F8-B84E-4AB1-B42B-028D56D16F0A}" srcOrd="0" destOrd="0" presId="urn:microsoft.com/office/officeart/2005/8/layout/orgChart1"/>
    <dgm:cxn modelId="{5745D964-6090-4B9D-B640-E6593E6011D4}" type="presParOf" srcId="{AE530367-4BA2-4F4E-B0AC-E04D91A0F935}" destId="{0CB9C99B-DEFA-4966-8CF8-DA68B4784DC0}" srcOrd="1" destOrd="0" presId="urn:microsoft.com/office/officeart/2005/8/layout/orgChart1"/>
    <dgm:cxn modelId="{35A04583-9A51-400A-BC20-8BD4AA14C37D}" type="presParOf" srcId="{B58970C9-95B8-4B26-967C-A1480C04E1D5}" destId="{009FD62B-C55C-4BEC-8BA5-FA62EF70D3D9}" srcOrd="1" destOrd="0" presId="urn:microsoft.com/office/officeart/2005/8/layout/orgChart1"/>
    <dgm:cxn modelId="{6C1125F4-7981-4AF8-9D75-F9441FA70CED}" type="presParOf" srcId="{B58970C9-95B8-4B26-967C-A1480C04E1D5}" destId="{A09D1205-0C2E-4840-81A0-9DAB419E8674}" srcOrd="2" destOrd="0" presId="urn:microsoft.com/office/officeart/2005/8/layout/orgChart1"/>
    <dgm:cxn modelId="{4E4CF358-15CC-48F5-8CDC-B26B9B2C1D42}" type="presParOf" srcId="{3A7CDDC6-DB3A-4C05-9D03-D55A7A5E721C}" destId="{544D61FC-3C0B-4BE0-9499-3C7855571502}" srcOrd="2" destOrd="0" presId="urn:microsoft.com/office/officeart/2005/8/layout/orgChart1"/>
    <dgm:cxn modelId="{B8604598-D9AB-457C-A874-2156AC84E981}" type="presParOf" srcId="{3A7CDDC6-DB3A-4C05-9D03-D55A7A5E721C}" destId="{A1A50A46-FE8E-4EC6-BDBB-AC136E7D6B9E}" srcOrd="3" destOrd="0" presId="urn:microsoft.com/office/officeart/2005/8/layout/orgChart1"/>
    <dgm:cxn modelId="{EA538377-400B-4C72-823F-5973BF4CE0E3}" type="presParOf" srcId="{A1A50A46-FE8E-4EC6-BDBB-AC136E7D6B9E}" destId="{1994FB97-FCC0-4692-8D48-8357BB2E6507}" srcOrd="0" destOrd="0" presId="urn:microsoft.com/office/officeart/2005/8/layout/orgChart1"/>
    <dgm:cxn modelId="{3845CFC9-F84E-42CD-8E7C-78283A1DB41B}" type="presParOf" srcId="{1994FB97-FCC0-4692-8D48-8357BB2E6507}" destId="{7C3DF0A3-8FEA-40ED-83F8-EABF46B90358}" srcOrd="0" destOrd="0" presId="urn:microsoft.com/office/officeart/2005/8/layout/orgChart1"/>
    <dgm:cxn modelId="{A268B60F-EEA6-4EBB-8434-A1C6FA5A8A1B}" type="presParOf" srcId="{1994FB97-FCC0-4692-8D48-8357BB2E6507}" destId="{EF89534B-47F8-40AD-9F38-847E29A327C4}" srcOrd="1" destOrd="0" presId="urn:microsoft.com/office/officeart/2005/8/layout/orgChart1"/>
    <dgm:cxn modelId="{7938E2E4-0707-467D-A1AE-C612E509254C}" type="presParOf" srcId="{A1A50A46-FE8E-4EC6-BDBB-AC136E7D6B9E}" destId="{E9B23E8B-30B2-49E3-99ED-0738DFDECDAB}" srcOrd="1" destOrd="0" presId="urn:microsoft.com/office/officeart/2005/8/layout/orgChart1"/>
    <dgm:cxn modelId="{DFBCE401-CFA5-4A93-828D-C5DA6DB5433E}" type="presParOf" srcId="{A1A50A46-FE8E-4EC6-BDBB-AC136E7D6B9E}" destId="{3939F9AC-358F-4CE2-93F5-B6B8E07FA214}" srcOrd="2" destOrd="0" presId="urn:microsoft.com/office/officeart/2005/8/layout/orgChart1"/>
    <dgm:cxn modelId="{568A7A0B-E603-4BFD-887E-6A8060344AA3}" type="presParOf" srcId="{3A7CDDC6-DB3A-4C05-9D03-D55A7A5E721C}" destId="{1C3D7A11-8356-43AE-9658-1D6F345305D9}" srcOrd="4" destOrd="0" presId="urn:microsoft.com/office/officeart/2005/8/layout/orgChart1"/>
    <dgm:cxn modelId="{F603ECFB-53F4-48F7-8BA0-38F354C8FB3F}" type="presParOf" srcId="{3A7CDDC6-DB3A-4C05-9D03-D55A7A5E721C}" destId="{5F61BEA0-F02F-4067-8B5C-5F08A8293302}" srcOrd="5" destOrd="0" presId="urn:microsoft.com/office/officeart/2005/8/layout/orgChart1"/>
    <dgm:cxn modelId="{ABF392E4-681B-48FD-98C1-61C8FFF9A38F}" type="presParOf" srcId="{5F61BEA0-F02F-4067-8B5C-5F08A8293302}" destId="{482C5AE0-8E11-449E-9A22-5279ADD154B9}" srcOrd="0" destOrd="0" presId="urn:microsoft.com/office/officeart/2005/8/layout/orgChart1"/>
    <dgm:cxn modelId="{A808EAE5-ED95-4347-89F9-C2F64A83F586}" type="presParOf" srcId="{482C5AE0-8E11-449E-9A22-5279ADD154B9}" destId="{B977E33C-0EDB-492A-B461-1CDE1588BD1F}" srcOrd="0" destOrd="0" presId="urn:microsoft.com/office/officeart/2005/8/layout/orgChart1"/>
    <dgm:cxn modelId="{C320A875-C082-4F18-9796-90F248ECC5B2}" type="presParOf" srcId="{482C5AE0-8E11-449E-9A22-5279ADD154B9}" destId="{FA4B6867-7D3F-4F47-98F6-0DC28610D6ED}" srcOrd="1" destOrd="0" presId="urn:microsoft.com/office/officeart/2005/8/layout/orgChart1"/>
    <dgm:cxn modelId="{4F499AED-9C83-4610-AA2C-71BAB70533AF}" type="presParOf" srcId="{5F61BEA0-F02F-4067-8B5C-5F08A8293302}" destId="{0792184D-099C-4450-8344-8E1D927AB3E5}" srcOrd="1" destOrd="0" presId="urn:microsoft.com/office/officeart/2005/8/layout/orgChart1"/>
    <dgm:cxn modelId="{78FBF9AD-31C9-47FA-900E-90042F4811F4}" type="presParOf" srcId="{5F61BEA0-F02F-4067-8B5C-5F08A8293302}" destId="{D5EF22B2-387D-4D53-90E2-02818BBE0D74}" srcOrd="2" destOrd="0" presId="urn:microsoft.com/office/officeart/2005/8/layout/orgChart1"/>
    <dgm:cxn modelId="{B805D66E-1206-48C0-9CB5-C8796CE13284}" type="presParOf" srcId="{3A7CDDC6-DB3A-4C05-9D03-D55A7A5E721C}" destId="{BEC05370-522E-4EA7-9278-63D9BA2E3AE1}" srcOrd="6" destOrd="0" presId="urn:microsoft.com/office/officeart/2005/8/layout/orgChart1"/>
    <dgm:cxn modelId="{59E85CC4-59B1-4E79-9610-C5A4625715AB}" type="presParOf" srcId="{3A7CDDC6-DB3A-4C05-9D03-D55A7A5E721C}" destId="{6A1CA1F9-ED10-4FC8-87D2-C42CF175C316}" srcOrd="7" destOrd="0" presId="urn:microsoft.com/office/officeart/2005/8/layout/orgChart1"/>
    <dgm:cxn modelId="{82A9A4C9-3BEB-4574-B0A6-E7CC7D4E7949}" type="presParOf" srcId="{6A1CA1F9-ED10-4FC8-87D2-C42CF175C316}" destId="{45C870F8-52C7-4A58-80A0-456EB2F818A8}" srcOrd="0" destOrd="0" presId="urn:microsoft.com/office/officeart/2005/8/layout/orgChart1"/>
    <dgm:cxn modelId="{24375FF7-4073-4632-A8FA-A14BF907A422}" type="presParOf" srcId="{45C870F8-52C7-4A58-80A0-456EB2F818A8}" destId="{7ED57EB1-2472-4F01-953B-811AA4FAE120}" srcOrd="0" destOrd="0" presId="urn:microsoft.com/office/officeart/2005/8/layout/orgChart1"/>
    <dgm:cxn modelId="{D3ABB99A-D3CF-4EA7-A88C-7F42748DB147}" type="presParOf" srcId="{45C870F8-52C7-4A58-80A0-456EB2F818A8}" destId="{A4DC5E7E-7FFB-491A-A011-1EE689893E3C}" srcOrd="1" destOrd="0" presId="urn:microsoft.com/office/officeart/2005/8/layout/orgChart1"/>
    <dgm:cxn modelId="{ACEA16FC-BED3-4066-A338-9D553F1910CF}" type="presParOf" srcId="{6A1CA1F9-ED10-4FC8-87D2-C42CF175C316}" destId="{E809659A-8902-4F31-8C69-ABB59040A0DB}" srcOrd="1" destOrd="0" presId="urn:microsoft.com/office/officeart/2005/8/layout/orgChart1"/>
    <dgm:cxn modelId="{A637C66C-DAE7-460B-812B-08CB8250F5BE}" type="presParOf" srcId="{6A1CA1F9-ED10-4FC8-87D2-C42CF175C316}" destId="{9089BA24-67DB-4049-9A86-3911D0503441}" srcOrd="2" destOrd="0" presId="urn:microsoft.com/office/officeart/2005/8/layout/orgChart1"/>
    <dgm:cxn modelId="{C6837F25-ADAC-4A2F-A82B-DA0AE71DB97A}" type="presParOf" srcId="{3A7CDDC6-DB3A-4C05-9D03-D55A7A5E721C}" destId="{33506941-B4E1-473E-86D6-E1D64C16E617}" srcOrd="8" destOrd="0" presId="urn:microsoft.com/office/officeart/2005/8/layout/orgChart1"/>
    <dgm:cxn modelId="{F60DF80F-BA40-46C5-89D5-5965F23E269F}" type="presParOf" srcId="{3A7CDDC6-DB3A-4C05-9D03-D55A7A5E721C}" destId="{0D21239E-761C-4A53-92E5-82C1CF053493}" srcOrd="9" destOrd="0" presId="urn:microsoft.com/office/officeart/2005/8/layout/orgChart1"/>
    <dgm:cxn modelId="{CC91F7E9-DF62-4348-A719-FDA586B107DE}" type="presParOf" srcId="{0D21239E-761C-4A53-92E5-82C1CF053493}" destId="{0CEE55FE-ED93-4BBF-A18B-8363830D4820}" srcOrd="0" destOrd="0" presId="urn:microsoft.com/office/officeart/2005/8/layout/orgChart1"/>
    <dgm:cxn modelId="{D4F9E21A-7A26-4E7F-974E-88F9951E9495}" type="presParOf" srcId="{0CEE55FE-ED93-4BBF-A18B-8363830D4820}" destId="{1DD5F1FD-8D7D-4784-9C4B-DCADAB0414DE}" srcOrd="0" destOrd="0" presId="urn:microsoft.com/office/officeart/2005/8/layout/orgChart1"/>
    <dgm:cxn modelId="{20F435BE-4113-46F4-A1FF-EA0858483094}" type="presParOf" srcId="{0CEE55FE-ED93-4BBF-A18B-8363830D4820}" destId="{AD5C7879-5F61-4417-AEE3-E597C9F7323E}" srcOrd="1" destOrd="0" presId="urn:microsoft.com/office/officeart/2005/8/layout/orgChart1"/>
    <dgm:cxn modelId="{B32D87EF-F239-491B-AE20-F2477253AB36}" type="presParOf" srcId="{0D21239E-761C-4A53-92E5-82C1CF053493}" destId="{808C55CB-8D13-45C7-BEB4-01A5339C5EC0}" srcOrd="1" destOrd="0" presId="urn:microsoft.com/office/officeart/2005/8/layout/orgChart1"/>
    <dgm:cxn modelId="{0D6E61E5-5289-4CE2-A939-4412A27F2392}" type="presParOf" srcId="{0D21239E-761C-4A53-92E5-82C1CF053493}" destId="{3A27F781-7734-437A-BAC2-F4CE2A22CC0E}" srcOrd="2" destOrd="0" presId="urn:microsoft.com/office/officeart/2005/8/layout/orgChart1"/>
    <dgm:cxn modelId="{33383D6A-68FB-489B-9E29-03FC17E0FF1B}" type="presParOf" srcId="{3F006B3C-0E44-4764-A183-F8F4592C1DA8}" destId="{08BB0504-3D6C-4825-AB7E-51EE2EB396B6}" srcOrd="2" destOrd="0" presId="urn:microsoft.com/office/officeart/2005/8/layout/orgChart1"/>
    <dgm:cxn modelId="{8A706826-B974-4543-A823-141F59FA1E0B}" type="presParOf" srcId="{7B197D1A-6162-4FEB-B154-4F7001153217}" destId="{88C36A8A-C68D-4121-AD11-91B8B24C2507}" srcOrd="2" destOrd="0" presId="urn:microsoft.com/office/officeart/2005/8/layout/orgChart1"/>
    <dgm:cxn modelId="{808EEEC2-F99E-42AA-9092-FC65442BE605}" type="presParOf" srcId="{7B197D1A-6162-4FEB-B154-4F7001153217}" destId="{4EBFE106-CD91-4233-9410-89FA33745965}" srcOrd="3" destOrd="0" presId="urn:microsoft.com/office/officeart/2005/8/layout/orgChart1"/>
    <dgm:cxn modelId="{5AA1AC0F-759F-4C26-ADA3-417597B4E5EC}" type="presParOf" srcId="{4EBFE106-CD91-4233-9410-89FA33745965}" destId="{F32DACE8-50DA-4F7E-92BE-390E2578C02C}" srcOrd="0" destOrd="0" presId="urn:microsoft.com/office/officeart/2005/8/layout/orgChart1"/>
    <dgm:cxn modelId="{5C515F42-D34F-48F1-BFE7-11B52E1FD4B1}" type="presParOf" srcId="{F32DACE8-50DA-4F7E-92BE-390E2578C02C}" destId="{50058357-DD17-40E3-BD4C-5B6B533A28F1}" srcOrd="0" destOrd="0" presId="urn:microsoft.com/office/officeart/2005/8/layout/orgChart1"/>
    <dgm:cxn modelId="{35099958-5ACD-4FA0-B775-80CA3BF92D91}" type="presParOf" srcId="{F32DACE8-50DA-4F7E-92BE-390E2578C02C}" destId="{21807A1A-3696-41C7-81CF-3CD5F424C793}" srcOrd="1" destOrd="0" presId="urn:microsoft.com/office/officeart/2005/8/layout/orgChart1"/>
    <dgm:cxn modelId="{68BE0BE1-1093-4610-84EF-A8C3A6662895}" type="presParOf" srcId="{4EBFE106-CD91-4233-9410-89FA33745965}" destId="{C4693BF8-18A9-4BB3-BFBF-E7BDD91DA502}" srcOrd="1" destOrd="0" presId="urn:microsoft.com/office/officeart/2005/8/layout/orgChart1"/>
    <dgm:cxn modelId="{35E2C0E9-077B-4641-A0FA-DB0C5E8B6EB2}" type="presParOf" srcId="{C4693BF8-18A9-4BB3-BFBF-E7BDD91DA502}" destId="{D7E08824-7192-4473-81A9-8208719BFD7A}" srcOrd="0" destOrd="0" presId="urn:microsoft.com/office/officeart/2005/8/layout/orgChart1"/>
    <dgm:cxn modelId="{DD9C0251-69E5-4BE8-9EE7-E79242180B5C}" type="presParOf" srcId="{C4693BF8-18A9-4BB3-BFBF-E7BDD91DA502}" destId="{79A402D1-F304-4695-86AB-92E1239007C8}" srcOrd="1" destOrd="0" presId="urn:microsoft.com/office/officeart/2005/8/layout/orgChart1"/>
    <dgm:cxn modelId="{A55D7F9B-7E04-4790-9357-130920DD950C}" type="presParOf" srcId="{79A402D1-F304-4695-86AB-92E1239007C8}" destId="{B79F37C1-EA68-4797-98C7-228C1F69F73E}" srcOrd="0" destOrd="0" presId="urn:microsoft.com/office/officeart/2005/8/layout/orgChart1"/>
    <dgm:cxn modelId="{00B758D5-BCB6-4397-B5B8-D251CF1C885C}" type="presParOf" srcId="{B79F37C1-EA68-4797-98C7-228C1F69F73E}" destId="{4FD35315-35F9-4765-831B-397662970EA7}" srcOrd="0" destOrd="0" presId="urn:microsoft.com/office/officeart/2005/8/layout/orgChart1"/>
    <dgm:cxn modelId="{A2DCD4F9-8243-4E8F-9914-89F023CEB7E3}" type="presParOf" srcId="{B79F37C1-EA68-4797-98C7-228C1F69F73E}" destId="{84C6D8A1-B11E-4FD3-A4DC-1A2A0DD7142D}" srcOrd="1" destOrd="0" presId="urn:microsoft.com/office/officeart/2005/8/layout/orgChart1"/>
    <dgm:cxn modelId="{D3D6C6D9-2CFB-462E-97E8-C7980C37BE59}" type="presParOf" srcId="{79A402D1-F304-4695-86AB-92E1239007C8}" destId="{C64861E3-2DC7-49D0-91A2-53508D9C8069}" srcOrd="1" destOrd="0" presId="urn:microsoft.com/office/officeart/2005/8/layout/orgChart1"/>
    <dgm:cxn modelId="{F9B2F54F-D8E6-472D-A244-A642BFA2A177}" type="presParOf" srcId="{79A402D1-F304-4695-86AB-92E1239007C8}" destId="{9A1219E2-6AE6-47C0-B7B7-BA4205A69CB3}" srcOrd="2" destOrd="0" presId="urn:microsoft.com/office/officeart/2005/8/layout/orgChart1"/>
    <dgm:cxn modelId="{15408E0B-11ED-4229-B599-3ED016F5353B}" type="presParOf" srcId="{C4693BF8-18A9-4BB3-BFBF-E7BDD91DA502}" destId="{A5D6B534-17B7-4E2A-A82A-2E65B6138EBD}" srcOrd="2" destOrd="0" presId="urn:microsoft.com/office/officeart/2005/8/layout/orgChart1"/>
    <dgm:cxn modelId="{1A551B9A-3BF2-44F9-9C2A-87295FFEB15A}" type="presParOf" srcId="{C4693BF8-18A9-4BB3-BFBF-E7BDD91DA502}" destId="{467AFA7F-C1C1-4AE4-B106-8C76866AA70E}" srcOrd="3" destOrd="0" presId="urn:microsoft.com/office/officeart/2005/8/layout/orgChart1"/>
    <dgm:cxn modelId="{C5700CAF-30C0-473C-A761-03802853D829}" type="presParOf" srcId="{467AFA7F-C1C1-4AE4-B106-8C76866AA70E}" destId="{4C71A5D0-4125-4E46-A9D2-CC8CE3DFE4AF}" srcOrd="0" destOrd="0" presId="urn:microsoft.com/office/officeart/2005/8/layout/orgChart1"/>
    <dgm:cxn modelId="{FEDE0CBB-2719-4FAF-BAC5-7ECFE837283E}" type="presParOf" srcId="{4C71A5D0-4125-4E46-A9D2-CC8CE3DFE4AF}" destId="{C800D746-0C23-4916-BC92-CA6BD5AB7E8C}" srcOrd="0" destOrd="0" presId="urn:microsoft.com/office/officeart/2005/8/layout/orgChart1"/>
    <dgm:cxn modelId="{1315E1E2-8A98-45DC-96BB-7FE970B47FE5}" type="presParOf" srcId="{4C71A5D0-4125-4E46-A9D2-CC8CE3DFE4AF}" destId="{70FA6B3B-1C45-4C14-B6E9-FC7B38443006}" srcOrd="1" destOrd="0" presId="urn:microsoft.com/office/officeart/2005/8/layout/orgChart1"/>
    <dgm:cxn modelId="{3FF52017-12E4-43EF-9A22-A4160B63EF86}" type="presParOf" srcId="{467AFA7F-C1C1-4AE4-B106-8C76866AA70E}" destId="{B3F3FB5F-1D0B-4051-999E-19EA01CDE742}" srcOrd="1" destOrd="0" presId="urn:microsoft.com/office/officeart/2005/8/layout/orgChart1"/>
    <dgm:cxn modelId="{864E0CE6-2652-4E3A-915A-1CEAA8BF6008}" type="presParOf" srcId="{467AFA7F-C1C1-4AE4-B106-8C76866AA70E}" destId="{9577981F-9E9A-4036-8852-983A710278C5}" srcOrd="2" destOrd="0" presId="urn:microsoft.com/office/officeart/2005/8/layout/orgChart1"/>
    <dgm:cxn modelId="{5352B54B-51DA-48E0-AD0E-C68B77C25772}" type="presParOf" srcId="{C4693BF8-18A9-4BB3-BFBF-E7BDD91DA502}" destId="{0B937F12-F8D7-4C01-9BD1-14E1722C630B}" srcOrd="4" destOrd="0" presId="urn:microsoft.com/office/officeart/2005/8/layout/orgChart1"/>
    <dgm:cxn modelId="{74A2A239-3948-428C-8B75-88594CB2E8A6}" type="presParOf" srcId="{C4693BF8-18A9-4BB3-BFBF-E7BDD91DA502}" destId="{7C3306A8-BDE3-4758-B01F-04A8BAEF0179}" srcOrd="5" destOrd="0" presId="urn:microsoft.com/office/officeart/2005/8/layout/orgChart1"/>
    <dgm:cxn modelId="{040C72CE-913D-4AEF-8CC8-C5732DB1CE2C}" type="presParOf" srcId="{7C3306A8-BDE3-4758-B01F-04A8BAEF0179}" destId="{F802FBFE-AC5A-4DC0-952B-13C4B5A46154}" srcOrd="0" destOrd="0" presId="urn:microsoft.com/office/officeart/2005/8/layout/orgChart1"/>
    <dgm:cxn modelId="{322630AA-3295-445D-BEF7-588956B52119}" type="presParOf" srcId="{F802FBFE-AC5A-4DC0-952B-13C4B5A46154}" destId="{5E2EC152-1896-4934-BF49-2086A09173DC}" srcOrd="0" destOrd="0" presId="urn:microsoft.com/office/officeart/2005/8/layout/orgChart1"/>
    <dgm:cxn modelId="{D94CF9B8-CEE1-4C78-9422-47386D922D16}" type="presParOf" srcId="{F802FBFE-AC5A-4DC0-952B-13C4B5A46154}" destId="{8E5188D2-2BEF-43EE-B3B4-908BC6E7B2D7}" srcOrd="1" destOrd="0" presId="urn:microsoft.com/office/officeart/2005/8/layout/orgChart1"/>
    <dgm:cxn modelId="{00D1F25A-1611-4A01-A7DB-AE3C1A7D34BD}" type="presParOf" srcId="{7C3306A8-BDE3-4758-B01F-04A8BAEF0179}" destId="{DFDB72CD-C608-4891-9071-CE737603FC8C}" srcOrd="1" destOrd="0" presId="urn:microsoft.com/office/officeart/2005/8/layout/orgChart1"/>
    <dgm:cxn modelId="{ACAECA1F-9855-47F2-8145-77731DDB8871}" type="presParOf" srcId="{7C3306A8-BDE3-4758-B01F-04A8BAEF0179}" destId="{D60B73C7-A170-42D7-BC32-7227A964CDF6}" srcOrd="2" destOrd="0" presId="urn:microsoft.com/office/officeart/2005/8/layout/orgChart1"/>
    <dgm:cxn modelId="{D140FD76-A9EF-4B57-AF53-0A9F320D69AC}" type="presParOf" srcId="{C4693BF8-18A9-4BB3-BFBF-E7BDD91DA502}" destId="{61D347BC-BDA0-475C-9A50-42A81474D152}" srcOrd="6" destOrd="0" presId="urn:microsoft.com/office/officeart/2005/8/layout/orgChart1"/>
    <dgm:cxn modelId="{1962E6E7-BF26-4038-B610-785E04BB0039}" type="presParOf" srcId="{C4693BF8-18A9-4BB3-BFBF-E7BDD91DA502}" destId="{485854F4-3F23-45C7-B07A-B60D040819E1}" srcOrd="7" destOrd="0" presId="urn:microsoft.com/office/officeart/2005/8/layout/orgChart1"/>
    <dgm:cxn modelId="{B39C5CFF-6544-4A98-BDA4-F6E0EE42C9C3}" type="presParOf" srcId="{485854F4-3F23-45C7-B07A-B60D040819E1}" destId="{E9CA11BE-A1EC-4B37-9C48-AD5F0406E98E}" srcOrd="0" destOrd="0" presId="urn:microsoft.com/office/officeart/2005/8/layout/orgChart1"/>
    <dgm:cxn modelId="{FE074570-C675-43BA-90AD-35887CB77B0C}" type="presParOf" srcId="{E9CA11BE-A1EC-4B37-9C48-AD5F0406E98E}" destId="{0BD3DD64-59B2-4E23-A3E9-C228E9C15727}" srcOrd="0" destOrd="0" presId="urn:microsoft.com/office/officeart/2005/8/layout/orgChart1"/>
    <dgm:cxn modelId="{D60BA3B8-48CC-49F0-A0ED-FA389DB09E98}" type="presParOf" srcId="{E9CA11BE-A1EC-4B37-9C48-AD5F0406E98E}" destId="{7E4AEF42-AF6B-49DC-974C-72A28A676FB5}" srcOrd="1" destOrd="0" presId="urn:microsoft.com/office/officeart/2005/8/layout/orgChart1"/>
    <dgm:cxn modelId="{D88CC980-1007-4C71-9055-8F3C4E9F2DFE}" type="presParOf" srcId="{485854F4-3F23-45C7-B07A-B60D040819E1}" destId="{63878068-6573-48A1-B433-DD90AB3AD4BC}" srcOrd="1" destOrd="0" presId="urn:microsoft.com/office/officeart/2005/8/layout/orgChart1"/>
    <dgm:cxn modelId="{5F33B0DB-2E31-4C2A-A1CB-C27AB4CF987C}" type="presParOf" srcId="{485854F4-3F23-45C7-B07A-B60D040819E1}" destId="{D2CA20CD-C508-487A-B806-8F717FC7A8C8}" srcOrd="2" destOrd="0" presId="urn:microsoft.com/office/officeart/2005/8/layout/orgChart1"/>
    <dgm:cxn modelId="{5433C324-32FB-465A-AC79-4ACAAE58E960}" type="presParOf" srcId="{C4693BF8-18A9-4BB3-BFBF-E7BDD91DA502}" destId="{685A8324-0154-4BAE-A282-BD7F9874BF84}" srcOrd="8" destOrd="0" presId="urn:microsoft.com/office/officeart/2005/8/layout/orgChart1"/>
    <dgm:cxn modelId="{988F1729-63B9-4DCB-8103-10C0BF9C725A}" type="presParOf" srcId="{C4693BF8-18A9-4BB3-BFBF-E7BDD91DA502}" destId="{0B9F7850-92C9-4C64-B8CC-0320CF7C3B1D}" srcOrd="9" destOrd="0" presId="urn:microsoft.com/office/officeart/2005/8/layout/orgChart1"/>
    <dgm:cxn modelId="{8FC23AF0-0A9F-4799-93D7-34E839CF0877}" type="presParOf" srcId="{0B9F7850-92C9-4C64-B8CC-0320CF7C3B1D}" destId="{19E76818-7000-4ABD-80F2-22ACB5F5A3B4}" srcOrd="0" destOrd="0" presId="urn:microsoft.com/office/officeart/2005/8/layout/orgChart1"/>
    <dgm:cxn modelId="{F22A8B5B-1CEE-4C75-8DBA-90A2643F890F}" type="presParOf" srcId="{19E76818-7000-4ABD-80F2-22ACB5F5A3B4}" destId="{6E6D14F6-4F85-4419-9F67-B3B1D3771340}" srcOrd="0" destOrd="0" presId="urn:microsoft.com/office/officeart/2005/8/layout/orgChart1"/>
    <dgm:cxn modelId="{20960F94-D26B-424D-94FD-9924FEF8CDBC}" type="presParOf" srcId="{19E76818-7000-4ABD-80F2-22ACB5F5A3B4}" destId="{1CE07665-C021-421E-A3D4-3DB74C79A17E}" srcOrd="1" destOrd="0" presId="urn:microsoft.com/office/officeart/2005/8/layout/orgChart1"/>
    <dgm:cxn modelId="{291F7155-9B3E-4068-AEDB-C4276141C3C6}" type="presParOf" srcId="{0B9F7850-92C9-4C64-B8CC-0320CF7C3B1D}" destId="{6BE193BC-9A68-45E2-82DD-5F8AC02CBC2D}" srcOrd="1" destOrd="0" presId="urn:microsoft.com/office/officeart/2005/8/layout/orgChart1"/>
    <dgm:cxn modelId="{5A75E0FD-2005-41DA-8D63-2AEEFFE86221}" type="presParOf" srcId="{0B9F7850-92C9-4C64-B8CC-0320CF7C3B1D}" destId="{D4897FB8-E16A-4AD2-820D-9C31854816EF}" srcOrd="2" destOrd="0" presId="urn:microsoft.com/office/officeart/2005/8/layout/orgChart1"/>
    <dgm:cxn modelId="{06E5B846-6104-4054-A311-3726EDAA69D4}" type="presParOf" srcId="{4EBFE106-CD91-4233-9410-89FA33745965}" destId="{1F085937-6BDB-443D-9528-8DB704A45376}" srcOrd="2" destOrd="0" presId="urn:microsoft.com/office/officeart/2005/8/layout/orgChart1"/>
    <dgm:cxn modelId="{E7A51A21-6CDD-4E46-A18F-8FD595C3F75B}" type="presParOf" srcId="{7B197D1A-6162-4FEB-B154-4F7001153217}" destId="{688DA1DE-8E0B-4E11-A40F-7EEC2C0D9A3E}" srcOrd="4" destOrd="0" presId="urn:microsoft.com/office/officeart/2005/8/layout/orgChart1"/>
    <dgm:cxn modelId="{9FF3703A-64E0-47B6-A562-11EF9DC48DEC}" type="presParOf" srcId="{7B197D1A-6162-4FEB-B154-4F7001153217}" destId="{FA52646F-4F8D-4554-9905-B949C0E98544}" srcOrd="5" destOrd="0" presId="urn:microsoft.com/office/officeart/2005/8/layout/orgChart1"/>
    <dgm:cxn modelId="{03761BBD-D83A-449A-81F2-3FD1D3835C74}" type="presParOf" srcId="{FA52646F-4F8D-4554-9905-B949C0E98544}" destId="{5B54768D-DC23-4D54-86B7-DD16C6BB945D}" srcOrd="0" destOrd="0" presId="urn:microsoft.com/office/officeart/2005/8/layout/orgChart1"/>
    <dgm:cxn modelId="{662C1265-5313-426D-90E3-3B4208B6DB53}" type="presParOf" srcId="{5B54768D-DC23-4D54-86B7-DD16C6BB945D}" destId="{B0D37D22-9103-4AC9-A936-B7B94FF81347}" srcOrd="0" destOrd="0" presId="urn:microsoft.com/office/officeart/2005/8/layout/orgChart1"/>
    <dgm:cxn modelId="{AEFB0EA2-A8E3-40E2-B823-E729EAE4C906}" type="presParOf" srcId="{5B54768D-DC23-4D54-86B7-DD16C6BB945D}" destId="{D866FCE2-941B-47AB-B780-B59924BC9605}" srcOrd="1" destOrd="0" presId="urn:microsoft.com/office/officeart/2005/8/layout/orgChart1"/>
    <dgm:cxn modelId="{9A4CB0C3-23DB-4A8C-A6AD-4166DB29E4BE}" type="presParOf" srcId="{FA52646F-4F8D-4554-9905-B949C0E98544}" destId="{64148F51-1981-487A-9047-C15F596021A0}" srcOrd="1" destOrd="0" presId="urn:microsoft.com/office/officeart/2005/8/layout/orgChart1"/>
    <dgm:cxn modelId="{3C3CD690-97A9-4C6A-802C-70BE63CBF274}" type="presParOf" srcId="{64148F51-1981-487A-9047-C15F596021A0}" destId="{230EB70D-8B66-444D-AF14-9665ED459AB4}" srcOrd="0" destOrd="0" presId="urn:microsoft.com/office/officeart/2005/8/layout/orgChart1"/>
    <dgm:cxn modelId="{27BD1A33-747E-46A4-9F6B-20D5EB39C01E}" type="presParOf" srcId="{64148F51-1981-487A-9047-C15F596021A0}" destId="{354897E5-693C-4061-888F-3734DAAC5268}" srcOrd="1" destOrd="0" presId="urn:microsoft.com/office/officeart/2005/8/layout/orgChart1"/>
    <dgm:cxn modelId="{9EA86663-707D-4B56-B770-C541359D5407}" type="presParOf" srcId="{354897E5-693C-4061-888F-3734DAAC5268}" destId="{8D70E0F2-A342-4889-AB7C-63D8F06A3B45}" srcOrd="0" destOrd="0" presId="urn:microsoft.com/office/officeart/2005/8/layout/orgChart1"/>
    <dgm:cxn modelId="{665C2BAE-467D-4031-9EDE-EDFD1F6781D7}" type="presParOf" srcId="{8D70E0F2-A342-4889-AB7C-63D8F06A3B45}" destId="{D661967C-C6CB-4B45-99C1-3BC6A007D77F}" srcOrd="0" destOrd="0" presId="urn:microsoft.com/office/officeart/2005/8/layout/orgChart1"/>
    <dgm:cxn modelId="{FE6483C3-9938-44E1-8551-580AAC790DB2}" type="presParOf" srcId="{8D70E0F2-A342-4889-AB7C-63D8F06A3B45}" destId="{D8A7B2E2-06DB-4090-8343-B936C255ADB5}" srcOrd="1" destOrd="0" presId="urn:microsoft.com/office/officeart/2005/8/layout/orgChart1"/>
    <dgm:cxn modelId="{44A3ACAC-DE42-48DF-8738-238169D4FFAE}" type="presParOf" srcId="{354897E5-693C-4061-888F-3734DAAC5268}" destId="{915E7201-FB20-417B-9D5F-9D8165F2E64B}" srcOrd="1" destOrd="0" presId="urn:microsoft.com/office/officeart/2005/8/layout/orgChart1"/>
    <dgm:cxn modelId="{C7FAAC7A-6C8E-42A4-83DF-61C487368533}" type="presParOf" srcId="{354897E5-693C-4061-888F-3734DAAC5268}" destId="{ACF03AF4-044A-4ABE-8475-4CAF3F37FDF2}" srcOrd="2" destOrd="0" presId="urn:microsoft.com/office/officeart/2005/8/layout/orgChart1"/>
    <dgm:cxn modelId="{6A7721B5-CFBD-4DEA-8BF3-88DFFCBB2437}" type="presParOf" srcId="{64148F51-1981-487A-9047-C15F596021A0}" destId="{9D04B380-04B0-4EB3-BDF0-7C6B8DEA850B}" srcOrd="2" destOrd="0" presId="urn:microsoft.com/office/officeart/2005/8/layout/orgChart1"/>
    <dgm:cxn modelId="{752D1637-DD4B-471A-86FE-983547F1BF41}" type="presParOf" srcId="{64148F51-1981-487A-9047-C15F596021A0}" destId="{800523BF-7B46-4697-8861-379875E285FE}" srcOrd="3" destOrd="0" presId="urn:microsoft.com/office/officeart/2005/8/layout/orgChart1"/>
    <dgm:cxn modelId="{7B3736E0-EA10-43AC-9F30-54B8859489F8}" type="presParOf" srcId="{800523BF-7B46-4697-8861-379875E285FE}" destId="{9645E70D-69DC-4B0E-B6F6-ADE052B34C1E}" srcOrd="0" destOrd="0" presId="urn:microsoft.com/office/officeart/2005/8/layout/orgChart1"/>
    <dgm:cxn modelId="{6B7740F2-68FE-4D5A-AF0F-2FF3B06CFB2C}" type="presParOf" srcId="{9645E70D-69DC-4B0E-B6F6-ADE052B34C1E}" destId="{120F3D84-857A-4C6A-9DE4-5BDC762A1547}" srcOrd="0" destOrd="0" presId="urn:microsoft.com/office/officeart/2005/8/layout/orgChart1"/>
    <dgm:cxn modelId="{FFE4398B-1319-480B-830B-CF9EE5E0E177}" type="presParOf" srcId="{9645E70D-69DC-4B0E-B6F6-ADE052B34C1E}" destId="{0CFBD3E9-BA77-42E2-AA07-779E3729B9D3}" srcOrd="1" destOrd="0" presId="urn:microsoft.com/office/officeart/2005/8/layout/orgChart1"/>
    <dgm:cxn modelId="{4CC9E306-3E01-40AB-9F91-8C54F49BBE66}" type="presParOf" srcId="{800523BF-7B46-4697-8861-379875E285FE}" destId="{4A3114E6-41AC-495C-96B8-9A64AF5EA574}" srcOrd="1" destOrd="0" presId="urn:microsoft.com/office/officeart/2005/8/layout/orgChart1"/>
    <dgm:cxn modelId="{CA00C987-8CCD-42F2-B84B-AF01A696FA8F}" type="presParOf" srcId="{800523BF-7B46-4697-8861-379875E285FE}" destId="{9378A419-7AF2-4B9E-8736-7268AFB81EEA}" srcOrd="2" destOrd="0" presId="urn:microsoft.com/office/officeart/2005/8/layout/orgChart1"/>
    <dgm:cxn modelId="{5044AF8E-49E2-40B0-88B3-7CE995336422}" type="presParOf" srcId="{64148F51-1981-487A-9047-C15F596021A0}" destId="{CB705D80-A895-46DA-AD3E-30F2C1DEA5B6}" srcOrd="4" destOrd="0" presId="urn:microsoft.com/office/officeart/2005/8/layout/orgChart1"/>
    <dgm:cxn modelId="{102A804D-DD3C-494E-B812-E1AD6DC20C49}" type="presParOf" srcId="{64148F51-1981-487A-9047-C15F596021A0}" destId="{42F77284-1345-4765-B57F-0D6C0BBC4450}" srcOrd="5" destOrd="0" presId="urn:microsoft.com/office/officeart/2005/8/layout/orgChart1"/>
    <dgm:cxn modelId="{19FFEDF5-3C41-4AC2-A5F3-6B665D087705}" type="presParOf" srcId="{42F77284-1345-4765-B57F-0D6C0BBC4450}" destId="{317C3C90-3C1C-4B13-B9D0-8577E3133112}" srcOrd="0" destOrd="0" presId="urn:microsoft.com/office/officeart/2005/8/layout/orgChart1"/>
    <dgm:cxn modelId="{73130CC3-68D4-4789-A255-7083241923DB}" type="presParOf" srcId="{317C3C90-3C1C-4B13-B9D0-8577E3133112}" destId="{5B25FF5A-F170-4059-81E5-9AAFC705E2DF}" srcOrd="0" destOrd="0" presId="urn:microsoft.com/office/officeart/2005/8/layout/orgChart1"/>
    <dgm:cxn modelId="{9D217144-B6FB-40E0-BDB3-D81D15A8E026}" type="presParOf" srcId="{317C3C90-3C1C-4B13-B9D0-8577E3133112}" destId="{E0FAF68D-CACD-42F2-9902-31D2604C115A}" srcOrd="1" destOrd="0" presId="urn:microsoft.com/office/officeart/2005/8/layout/orgChart1"/>
    <dgm:cxn modelId="{DC2F007A-BBFB-40AE-BCF6-8CA0DD956478}" type="presParOf" srcId="{42F77284-1345-4765-B57F-0D6C0BBC4450}" destId="{6450064E-6FFF-4BEA-8D64-1DB866658991}" srcOrd="1" destOrd="0" presId="urn:microsoft.com/office/officeart/2005/8/layout/orgChart1"/>
    <dgm:cxn modelId="{C82A38BD-1A4C-4587-8BBC-D1427C0D50B5}" type="presParOf" srcId="{42F77284-1345-4765-B57F-0D6C0BBC4450}" destId="{CF8ECCD7-A4F8-4923-888E-F2698097DF6C}" srcOrd="2" destOrd="0" presId="urn:microsoft.com/office/officeart/2005/8/layout/orgChart1"/>
    <dgm:cxn modelId="{46AECF2C-FDC3-4FF7-97AB-8A50A688C43B}" type="presParOf" srcId="{64148F51-1981-487A-9047-C15F596021A0}" destId="{250A9133-9D8D-4311-B630-97F271835AC4}" srcOrd="6" destOrd="0" presId="urn:microsoft.com/office/officeart/2005/8/layout/orgChart1"/>
    <dgm:cxn modelId="{ED378CD4-78BA-4B09-9EE2-1FE4344F610C}" type="presParOf" srcId="{64148F51-1981-487A-9047-C15F596021A0}" destId="{7C230DA9-2822-4E2C-A73E-077638ABF436}" srcOrd="7" destOrd="0" presId="urn:microsoft.com/office/officeart/2005/8/layout/orgChart1"/>
    <dgm:cxn modelId="{A182B1B3-A83D-4593-B8B0-9FF31848922E}" type="presParOf" srcId="{7C230DA9-2822-4E2C-A73E-077638ABF436}" destId="{E4F5CA34-30BA-43E0-A461-DBF56460C026}" srcOrd="0" destOrd="0" presId="urn:microsoft.com/office/officeart/2005/8/layout/orgChart1"/>
    <dgm:cxn modelId="{933EB6FF-17A2-44F6-BCD4-A87E7801C218}" type="presParOf" srcId="{E4F5CA34-30BA-43E0-A461-DBF56460C026}" destId="{143A7E81-6929-4607-AA46-C69C90FB6EA4}" srcOrd="0" destOrd="0" presId="urn:microsoft.com/office/officeart/2005/8/layout/orgChart1"/>
    <dgm:cxn modelId="{3CC58797-283A-4E35-863C-0785465C9B09}" type="presParOf" srcId="{E4F5CA34-30BA-43E0-A461-DBF56460C026}" destId="{23EA9E9C-1BF7-4136-9649-5BAB37A17FCC}" srcOrd="1" destOrd="0" presId="urn:microsoft.com/office/officeart/2005/8/layout/orgChart1"/>
    <dgm:cxn modelId="{308E4D43-4B28-43E6-9CF6-7A65F439D00C}" type="presParOf" srcId="{7C230DA9-2822-4E2C-A73E-077638ABF436}" destId="{D2541F6D-9360-4CB0-98D1-7C5C69A76A37}" srcOrd="1" destOrd="0" presId="urn:microsoft.com/office/officeart/2005/8/layout/orgChart1"/>
    <dgm:cxn modelId="{3F507C9B-657C-4462-8EB5-87929EAB57DB}" type="presParOf" srcId="{7C230DA9-2822-4E2C-A73E-077638ABF436}" destId="{32B6DE90-86B9-4966-9070-5F17AEC612D5}" srcOrd="2" destOrd="0" presId="urn:microsoft.com/office/officeart/2005/8/layout/orgChart1"/>
    <dgm:cxn modelId="{3DEFFC07-0554-4354-9055-17C354F0C9D7}" type="presParOf" srcId="{64148F51-1981-487A-9047-C15F596021A0}" destId="{529012D5-96CB-4238-9C5C-FCE12B27ABCD}" srcOrd="8" destOrd="0" presId="urn:microsoft.com/office/officeart/2005/8/layout/orgChart1"/>
    <dgm:cxn modelId="{09A4C86B-CE45-46AC-BB3D-D29AA9BC0227}" type="presParOf" srcId="{64148F51-1981-487A-9047-C15F596021A0}" destId="{5596A8AB-23A4-46B4-9D3E-FFF449790A98}" srcOrd="9" destOrd="0" presId="urn:microsoft.com/office/officeart/2005/8/layout/orgChart1"/>
    <dgm:cxn modelId="{98CF7A9C-C937-457B-9263-D51CB862063B}" type="presParOf" srcId="{5596A8AB-23A4-46B4-9D3E-FFF449790A98}" destId="{1237F100-B7B2-481F-BC76-04595A0B0472}" srcOrd="0" destOrd="0" presId="urn:microsoft.com/office/officeart/2005/8/layout/orgChart1"/>
    <dgm:cxn modelId="{3D61FCC3-D2AC-4AD0-9236-BEDE70278EBA}" type="presParOf" srcId="{1237F100-B7B2-481F-BC76-04595A0B0472}" destId="{256FC6BB-DDFA-4616-B4C9-8D4ACC72CD09}" srcOrd="0" destOrd="0" presId="urn:microsoft.com/office/officeart/2005/8/layout/orgChart1"/>
    <dgm:cxn modelId="{56B4C2FF-77EB-489B-AF1D-8D3261166E03}" type="presParOf" srcId="{1237F100-B7B2-481F-BC76-04595A0B0472}" destId="{D2763E0B-7359-42DF-ACC5-7FE2836EC021}" srcOrd="1" destOrd="0" presId="urn:microsoft.com/office/officeart/2005/8/layout/orgChart1"/>
    <dgm:cxn modelId="{DD6B2D12-5059-4894-8DAB-5F31F3BB1CE4}" type="presParOf" srcId="{5596A8AB-23A4-46B4-9D3E-FFF449790A98}" destId="{82AEE3B9-4E3B-4BAE-9D23-9976265DF32D}" srcOrd="1" destOrd="0" presId="urn:microsoft.com/office/officeart/2005/8/layout/orgChart1"/>
    <dgm:cxn modelId="{0ADD17CC-6F36-4032-AEAD-D58AE95E26FD}" type="presParOf" srcId="{5596A8AB-23A4-46B4-9D3E-FFF449790A98}" destId="{0A0216F8-C3DB-47C8-A2A3-89C214A7A405}" srcOrd="2" destOrd="0" presId="urn:microsoft.com/office/officeart/2005/8/layout/orgChart1"/>
    <dgm:cxn modelId="{210A8247-098A-414B-A700-5A04255EEC42}" type="presParOf" srcId="{FA52646F-4F8D-4554-9905-B949C0E98544}" destId="{9ABD66D8-AAD7-42BB-9BEC-CBF7222A3F47}" srcOrd="2" destOrd="0" presId="urn:microsoft.com/office/officeart/2005/8/layout/orgChart1"/>
    <dgm:cxn modelId="{E9F8CB26-1BF1-49FB-B410-1D04BC321AE1}" type="presParOf" srcId="{7B197D1A-6162-4FEB-B154-4F7001153217}" destId="{96CB8695-6A6F-4110-9BA8-3B7811DB9BFA}" srcOrd="6" destOrd="0" presId="urn:microsoft.com/office/officeart/2005/8/layout/orgChart1"/>
    <dgm:cxn modelId="{7D864FC3-9712-4859-B46A-965A1D28AE0E}" type="presParOf" srcId="{7B197D1A-6162-4FEB-B154-4F7001153217}" destId="{2F945978-60C1-4DBC-A0B4-C35CDF701084}" srcOrd="7" destOrd="0" presId="urn:microsoft.com/office/officeart/2005/8/layout/orgChart1"/>
    <dgm:cxn modelId="{DB1CA52C-CBC1-4F33-B720-CB528FD8BBE3}" type="presParOf" srcId="{2F945978-60C1-4DBC-A0B4-C35CDF701084}" destId="{CB5B4A38-FFB6-4039-8688-335B5DF46B12}" srcOrd="0" destOrd="0" presId="urn:microsoft.com/office/officeart/2005/8/layout/orgChart1"/>
    <dgm:cxn modelId="{16D26C66-0FCE-4427-9624-AA1B4CB240F9}" type="presParOf" srcId="{CB5B4A38-FFB6-4039-8688-335B5DF46B12}" destId="{324D497E-2926-4E34-9096-31A1B24C0144}" srcOrd="0" destOrd="0" presId="urn:microsoft.com/office/officeart/2005/8/layout/orgChart1"/>
    <dgm:cxn modelId="{4EF9B048-27EC-423D-A57A-6710837D28E1}" type="presParOf" srcId="{CB5B4A38-FFB6-4039-8688-335B5DF46B12}" destId="{A707C2F0-4EDB-496F-A1E6-246D6C81C19B}" srcOrd="1" destOrd="0" presId="urn:microsoft.com/office/officeart/2005/8/layout/orgChart1"/>
    <dgm:cxn modelId="{E7D0419C-4999-4A2A-B040-0AA0DCEB08D2}" type="presParOf" srcId="{2F945978-60C1-4DBC-A0B4-C35CDF701084}" destId="{9984D1A2-0878-4588-981E-125535548D94}" srcOrd="1" destOrd="0" presId="urn:microsoft.com/office/officeart/2005/8/layout/orgChart1"/>
    <dgm:cxn modelId="{D39BEBE4-BD00-449A-9B56-F30565C73F68}" type="presParOf" srcId="{9984D1A2-0878-4588-981E-125535548D94}" destId="{65798E84-1826-453D-8899-27D1D6D293F1}" srcOrd="0" destOrd="0" presId="urn:microsoft.com/office/officeart/2005/8/layout/orgChart1"/>
    <dgm:cxn modelId="{18001514-E787-481D-B7E9-878B0B8B77F3}" type="presParOf" srcId="{9984D1A2-0878-4588-981E-125535548D94}" destId="{FA9342E8-EF91-425D-BE91-CDBE5252C34E}" srcOrd="1" destOrd="0" presId="urn:microsoft.com/office/officeart/2005/8/layout/orgChart1"/>
    <dgm:cxn modelId="{4DF9C875-D228-4958-AAB9-335970A5911E}" type="presParOf" srcId="{FA9342E8-EF91-425D-BE91-CDBE5252C34E}" destId="{1EAC173A-33CD-4A3A-A536-D7140B963901}" srcOrd="0" destOrd="0" presId="urn:microsoft.com/office/officeart/2005/8/layout/orgChart1"/>
    <dgm:cxn modelId="{A4398589-A394-4059-82B9-A4B84B26B8EB}" type="presParOf" srcId="{1EAC173A-33CD-4A3A-A536-D7140B963901}" destId="{A1C0B929-5955-426C-9B95-62BD7A0741FE}" srcOrd="0" destOrd="0" presId="urn:microsoft.com/office/officeart/2005/8/layout/orgChart1"/>
    <dgm:cxn modelId="{73054984-1A4A-4EC4-B5CA-A311EB68F585}" type="presParOf" srcId="{1EAC173A-33CD-4A3A-A536-D7140B963901}" destId="{D8EBB029-4CCB-4D7E-8909-4C9F507E5D5E}" srcOrd="1" destOrd="0" presId="urn:microsoft.com/office/officeart/2005/8/layout/orgChart1"/>
    <dgm:cxn modelId="{A5E50217-301C-4197-9AC1-05D4B0B3A134}" type="presParOf" srcId="{FA9342E8-EF91-425D-BE91-CDBE5252C34E}" destId="{F2852038-34B9-4748-9E53-BCF789CBECEC}" srcOrd="1" destOrd="0" presId="urn:microsoft.com/office/officeart/2005/8/layout/orgChart1"/>
    <dgm:cxn modelId="{72379A5A-078E-4B8B-92AB-772268E14531}" type="presParOf" srcId="{FA9342E8-EF91-425D-BE91-CDBE5252C34E}" destId="{C5061EED-38D0-47F0-A28C-AFD59EF2B0DA}" srcOrd="2" destOrd="0" presId="urn:microsoft.com/office/officeart/2005/8/layout/orgChart1"/>
    <dgm:cxn modelId="{D13B68C3-98B3-4FA8-A73A-FFDFA66A2B4F}" type="presParOf" srcId="{9984D1A2-0878-4588-981E-125535548D94}" destId="{60A9A5CD-1D47-4727-9FE2-7E521C06E179}" srcOrd="2" destOrd="0" presId="urn:microsoft.com/office/officeart/2005/8/layout/orgChart1"/>
    <dgm:cxn modelId="{02893558-A162-4C72-B1CE-750BE2149B62}" type="presParOf" srcId="{9984D1A2-0878-4588-981E-125535548D94}" destId="{FF019C81-213A-4C0C-BA15-CE7B7E7896F2}" srcOrd="3" destOrd="0" presId="urn:microsoft.com/office/officeart/2005/8/layout/orgChart1"/>
    <dgm:cxn modelId="{A785EFB0-979E-4A52-8E15-23FBD9D77026}" type="presParOf" srcId="{FF019C81-213A-4C0C-BA15-CE7B7E7896F2}" destId="{148669AB-9064-40AF-941D-94F68B1995DF}" srcOrd="0" destOrd="0" presId="urn:microsoft.com/office/officeart/2005/8/layout/orgChart1"/>
    <dgm:cxn modelId="{51F828A2-A81C-4BE0-AFBC-B141E4B19B08}" type="presParOf" srcId="{148669AB-9064-40AF-941D-94F68B1995DF}" destId="{0202F198-A412-46DF-A6C4-7BBA642C6935}" srcOrd="0" destOrd="0" presId="urn:microsoft.com/office/officeart/2005/8/layout/orgChart1"/>
    <dgm:cxn modelId="{F5789689-7D13-49E2-B803-500CADD7E86D}" type="presParOf" srcId="{148669AB-9064-40AF-941D-94F68B1995DF}" destId="{6E525170-A72B-4FEC-B03A-89E321F9442F}" srcOrd="1" destOrd="0" presId="urn:microsoft.com/office/officeart/2005/8/layout/orgChart1"/>
    <dgm:cxn modelId="{CF4672B1-6D66-4717-964C-54F5BEB83784}" type="presParOf" srcId="{FF019C81-213A-4C0C-BA15-CE7B7E7896F2}" destId="{A2AEE939-7EBB-44D0-89D7-52878A16CF85}" srcOrd="1" destOrd="0" presId="urn:microsoft.com/office/officeart/2005/8/layout/orgChart1"/>
    <dgm:cxn modelId="{A35A3894-C55C-4295-8116-E710014F6057}" type="presParOf" srcId="{FF019C81-213A-4C0C-BA15-CE7B7E7896F2}" destId="{67F665F9-2859-4E96-8ECC-38F4E6526BF8}" srcOrd="2" destOrd="0" presId="urn:microsoft.com/office/officeart/2005/8/layout/orgChart1"/>
    <dgm:cxn modelId="{7B9C1460-F834-46BA-92BF-722D087CB5AD}" type="presParOf" srcId="{2F945978-60C1-4DBC-A0B4-C35CDF701084}" destId="{9B2FC452-DE2F-4DD1-8A03-FDA8B0B5FF2B}" srcOrd="2" destOrd="0" presId="urn:microsoft.com/office/officeart/2005/8/layout/orgChart1"/>
    <dgm:cxn modelId="{5899D738-0219-4473-8AA7-F1F0B4743CD0}" type="presParOf" srcId="{7B197D1A-6162-4FEB-B154-4F7001153217}" destId="{DA16CD7F-B22A-49A6-91FC-06C0957AF773}" srcOrd="8" destOrd="0" presId="urn:microsoft.com/office/officeart/2005/8/layout/orgChart1"/>
    <dgm:cxn modelId="{B1BC8536-1453-4D07-A698-C8F12486C76A}" type="presParOf" srcId="{7B197D1A-6162-4FEB-B154-4F7001153217}" destId="{1966C0BC-22C8-437F-8DB1-83D7C96765F8}" srcOrd="9" destOrd="0" presId="urn:microsoft.com/office/officeart/2005/8/layout/orgChart1"/>
    <dgm:cxn modelId="{8F884A56-BF58-4086-941A-342CBCFB02FE}" type="presParOf" srcId="{1966C0BC-22C8-437F-8DB1-83D7C96765F8}" destId="{EA9E64C6-E386-4CD2-82E0-F1F5B6B14790}" srcOrd="0" destOrd="0" presId="urn:microsoft.com/office/officeart/2005/8/layout/orgChart1"/>
    <dgm:cxn modelId="{7CB36917-F2F5-4672-959E-C6A0A9DBF1F7}" type="presParOf" srcId="{EA9E64C6-E386-4CD2-82E0-F1F5B6B14790}" destId="{19830783-0C76-48C1-8BC9-2D257A2854D5}" srcOrd="0" destOrd="0" presId="urn:microsoft.com/office/officeart/2005/8/layout/orgChart1"/>
    <dgm:cxn modelId="{D9C54B93-8D2E-41EC-BDE0-47DD9153DB19}" type="presParOf" srcId="{EA9E64C6-E386-4CD2-82E0-F1F5B6B14790}" destId="{0E2D96AF-CBA1-4753-91AC-C1E1A82033E7}" srcOrd="1" destOrd="0" presId="urn:microsoft.com/office/officeart/2005/8/layout/orgChart1"/>
    <dgm:cxn modelId="{5E2C189B-2F74-4D15-9391-93DE01B5FD41}" type="presParOf" srcId="{1966C0BC-22C8-437F-8DB1-83D7C96765F8}" destId="{A0E7A3F8-D578-42FD-B284-CA8CDAF1FADA}" srcOrd="1" destOrd="0" presId="urn:microsoft.com/office/officeart/2005/8/layout/orgChart1"/>
    <dgm:cxn modelId="{A440A5D3-B628-41F4-86B4-C1A517A393C1}" type="presParOf" srcId="{A0E7A3F8-D578-42FD-B284-CA8CDAF1FADA}" destId="{0A4D5908-4001-44D5-97BB-A7CDEDFB1C95}" srcOrd="0" destOrd="0" presId="urn:microsoft.com/office/officeart/2005/8/layout/orgChart1"/>
    <dgm:cxn modelId="{03F82F08-A3DC-40A1-BDE8-AC6A3CD4D9F1}" type="presParOf" srcId="{A0E7A3F8-D578-42FD-B284-CA8CDAF1FADA}" destId="{2AA921B8-FC48-4AC9-8EF7-C6D7B0BA1C97}" srcOrd="1" destOrd="0" presId="urn:microsoft.com/office/officeart/2005/8/layout/orgChart1"/>
    <dgm:cxn modelId="{318D2280-FA7D-4220-AEF5-FFBA36E77F8D}" type="presParOf" srcId="{2AA921B8-FC48-4AC9-8EF7-C6D7B0BA1C97}" destId="{DD042F9E-A986-4FC5-8B1F-4A1B4F3C444E}" srcOrd="0" destOrd="0" presId="urn:microsoft.com/office/officeart/2005/8/layout/orgChart1"/>
    <dgm:cxn modelId="{75E97BD7-DED3-4292-AF57-CCBF196BE9B8}" type="presParOf" srcId="{DD042F9E-A986-4FC5-8B1F-4A1B4F3C444E}" destId="{C8014A0F-230A-4A1A-AC06-9EE93A2C745D}" srcOrd="0" destOrd="0" presId="urn:microsoft.com/office/officeart/2005/8/layout/orgChart1"/>
    <dgm:cxn modelId="{FE5F7A70-196C-4EF6-8F42-2FBFA22B6DA5}" type="presParOf" srcId="{DD042F9E-A986-4FC5-8B1F-4A1B4F3C444E}" destId="{6A6731EC-0AD9-46C0-89AD-E299781C5278}" srcOrd="1" destOrd="0" presId="urn:microsoft.com/office/officeart/2005/8/layout/orgChart1"/>
    <dgm:cxn modelId="{94EE9509-F33B-4333-85D4-CF441FEAF457}" type="presParOf" srcId="{2AA921B8-FC48-4AC9-8EF7-C6D7B0BA1C97}" destId="{E8FDA81D-5C50-4EB8-AB86-A631418AE735}" srcOrd="1" destOrd="0" presId="urn:microsoft.com/office/officeart/2005/8/layout/orgChart1"/>
    <dgm:cxn modelId="{399C8930-BB1A-47FF-8EBB-8B306C952E52}" type="presParOf" srcId="{2AA921B8-FC48-4AC9-8EF7-C6D7B0BA1C97}" destId="{78CA1F31-DF1F-4925-AD12-1F1098212BA3}" srcOrd="2" destOrd="0" presId="urn:microsoft.com/office/officeart/2005/8/layout/orgChart1"/>
    <dgm:cxn modelId="{553A0129-1880-4E1D-BD9F-2BF458048B93}" type="presParOf" srcId="{1966C0BC-22C8-437F-8DB1-83D7C96765F8}" destId="{7136E6B7-7F83-4EA1-9597-9E0D471ECA44}" srcOrd="2" destOrd="0" presId="urn:microsoft.com/office/officeart/2005/8/layout/orgChart1"/>
    <dgm:cxn modelId="{0BA8F49E-F7A3-4311-A751-92ED14D129E1}" type="presParOf" srcId="{7B197D1A-6162-4FEB-B154-4F7001153217}" destId="{9144A605-AB1F-4BDE-9483-8BAC6B423B0C}" srcOrd="10" destOrd="0" presId="urn:microsoft.com/office/officeart/2005/8/layout/orgChart1"/>
    <dgm:cxn modelId="{D5485825-9AED-47B0-A9FA-54A4E4733095}" type="presParOf" srcId="{7B197D1A-6162-4FEB-B154-4F7001153217}" destId="{BC0E4E6C-D6A7-47C9-95CD-236EE2C132DB}" srcOrd="11" destOrd="0" presId="urn:microsoft.com/office/officeart/2005/8/layout/orgChart1"/>
    <dgm:cxn modelId="{1D5173E0-4CC2-4371-A60C-957E8474A4FA}" type="presParOf" srcId="{BC0E4E6C-D6A7-47C9-95CD-236EE2C132DB}" destId="{D52B437B-BD0C-46FE-92A5-45651D876252}" srcOrd="0" destOrd="0" presId="urn:microsoft.com/office/officeart/2005/8/layout/orgChart1"/>
    <dgm:cxn modelId="{B27CCF7B-9339-4963-AEC7-762B50D5AE35}" type="presParOf" srcId="{D52B437B-BD0C-46FE-92A5-45651D876252}" destId="{EB60B28C-A24A-4083-A999-99822AFE96F0}" srcOrd="0" destOrd="0" presId="urn:microsoft.com/office/officeart/2005/8/layout/orgChart1"/>
    <dgm:cxn modelId="{A51F840C-6136-40C9-8A94-4E97876E51A6}" type="presParOf" srcId="{D52B437B-BD0C-46FE-92A5-45651D876252}" destId="{1B75F6CF-10F1-4BB1-990C-DE7440726501}" srcOrd="1" destOrd="0" presId="urn:microsoft.com/office/officeart/2005/8/layout/orgChart1"/>
    <dgm:cxn modelId="{06D85619-8229-4476-B86D-A5368E0AF1BB}" type="presParOf" srcId="{BC0E4E6C-D6A7-47C9-95CD-236EE2C132DB}" destId="{B4C69FCC-F0D1-4022-ADAA-E51241D0D72C}" srcOrd="1" destOrd="0" presId="urn:microsoft.com/office/officeart/2005/8/layout/orgChart1"/>
    <dgm:cxn modelId="{E0510141-C6B0-48A6-841A-CC5B0481427F}" type="presParOf" srcId="{B4C69FCC-F0D1-4022-ADAA-E51241D0D72C}" destId="{DBFA3ED4-5F5F-4961-937F-E02834F8E099}" srcOrd="0" destOrd="0" presId="urn:microsoft.com/office/officeart/2005/8/layout/orgChart1"/>
    <dgm:cxn modelId="{B9C1345E-7230-4834-8E08-E0DBA4732DDF}" type="presParOf" srcId="{B4C69FCC-F0D1-4022-ADAA-E51241D0D72C}" destId="{D9085E63-892B-49D0-AC83-2BE14A28E3D3}" srcOrd="1" destOrd="0" presId="urn:microsoft.com/office/officeart/2005/8/layout/orgChart1"/>
    <dgm:cxn modelId="{1DD62BAF-BBF3-43CD-84E3-F86D69F92B44}" type="presParOf" srcId="{D9085E63-892B-49D0-AC83-2BE14A28E3D3}" destId="{3A937799-E78E-48F1-9902-756F4C177FD1}" srcOrd="0" destOrd="0" presId="urn:microsoft.com/office/officeart/2005/8/layout/orgChart1"/>
    <dgm:cxn modelId="{A8D98B17-A32F-4B6C-848B-E02DA9FFE316}" type="presParOf" srcId="{3A937799-E78E-48F1-9902-756F4C177FD1}" destId="{FA5E02E9-F288-4B6B-BCBF-D0335BE074CF}" srcOrd="0" destOrd="0" presId="urn:microsoft.com/office/officeart/2005/8/layout/orgChart1"/>
    <dgm:cxn modelId="{C17325A6-F5D5-40A0-ACFF-6C2B24421820}" type="presParOf" srcId="{3A937799-E78E-48F1-9902-756F4C177FD1}" destId="{71902094-5092-4624-B4C9-2C30E27A902D}" srcOrd="1" destOrd="0" presId="urn:microsoft.com/office/officeart/2005/8/layout/orgChart1"/>
    <dgm:cxn modelId="{3EC296B7-4F3F-48CE-8DE9-B0EF94B0BDB6}" type="presParOf" srcId="{D9085E63-892B-49D0-AC83-2BE14A28E3D3}" destId="{9318E94E-78CA-419B-A1BD-DC3AEA1A41D9}" srcOrd="1" destOrd="0" presId="urn:microsoft.com/office/officeart/2005/8/layout/orgChart1"/>
    <dgm:cxn modelId="{022758B6-5AB5-4B5D-AFF9-40D6C6B9D2D2}" type="presParOf" srcId="{D9085E63-892B-49D0-AC83-2BE14A28E3D3}" destId="{B7FCF21D-DF23-4E09-A84D-F67504424B98}" srcOrd="2" destOrd="0" presId="urn:microsoft.com/office/officeart/2005/8/layout/orgChart1"/>
    <dgm:cxn modelId="{D3EF8DDD-A45F-4BC6-8EB1-ABE4693F0E93}" type="presParOf" srcId="{B4C69FCC-F0D1-4022-ADAA-E51241D0D72C}" destId="{AF8958D3-A4FF-4983-847D-5AF58665D963}" srcOrd="2" destOrd="0" presId="urn:microsoft.com/office/officeart/2005/8/layout/orgChart1"/>
    <dgm:cxn modelId="{6A286206-D642-4C69-BE2D-C4EA49A2618E}" type="presParOf" srcId="{B4C69FCC-F0D1-4022-ADAA-E51241D0D72C}" destId="{FC89DB86-4310-4C6F-870D-513CA39D1275}" srcOrd="3" destOrd="0" presId="urn:microsoft.com/office/officeart/2005/8/layout/orgChart1"/>
    <dgm:cxn modelId="{A03A97D1-7A0A-421F-B3C3-FAF22B674C98}" type="presParOf" srcId="{FC89DB86-4310-4C6F-870D-513CA39D1275}" destId="{45C087AC-FF91-4622-B034-AB3F99E90306}" srcOrd="0" destOrd="0" presId="urn:microsoft.com/office/officeart/2005/8/layout/orgChart1"/>
    <dgm:cxn modelId="{35A484C1-FF39-47D3-BCDC-2A8D9A1BD755}" type="presParOf" srcId="{45C087AC-FF91-4622-B034-AB3F99E90306}" destId="{2AB2ED81-D175-4C8E-A518-63B3BBBCEDAB}" srcOrd="0" destOrd="0" presId="urn:microsoft.com/office/officeart/2005/8/layout/orgChart1"/>
    <dgm:cxn modelId="{B89A7874-7816-4E3B-A02B-AF133C09B50E}" type="presParOf" srcId="{45C087AC-FF91-4622-B034-AB3F99E90306}" destId="{3BE436A4-B670-41F1-81F8-86C8B4D16C28}" srcOrd="1" destOrd="0" presId="urn:microsoft.com/office/officeart/2005/8/layout/orgChart1"/>
    <dgm:cxn modelId="{FE01E2A5-E7B5-48DD-ADE4-342D19D930E6}" type="presParOf" srcId="{FC89DB86-4310-4C6F-870D-513CA39D1275}" destId="{DC0FCEFB-6C03-41E8-9945-A5DCD01F7C43}" srcOrd="1" destOrd="0" presId="urn:microsoft.com/office/officeart/2005/8/layout/orgChart1"/>
    <dgm:cxn modelId="{224C364A-93C8-46B0-99CB-83A9DE7C47EB}" type="presParOf" srcId="{FC89DB86-4310-4C6F-870D-513CA39D1275}" destId="{75E73117-0720-4975-8688-F2C0BC84DE9E}" srcOrd="2" destOrd="0" presId="urn:microsoft.com/office/officeart/2005/8/layout/orgChart1"/>
    <dgm:cxn modelId="{82963A4B-9E44-4C99-8D53-48B42B59D967}" type="presParOf" srcId="{B4C69FCC-F0D1-4022-ADAA-E51241D0D72C}" destId="{32D3D7C0-6493-4728-B0E1-78CDBAF0ECFA}" srcOrd="4" destOrd="0" presId="urn:microsoft.com/office/officeart/2005/8/layout/orgChart1"/>
    <dgm:cxn modelId="{5C647032-C828-4FD5-B1BA-7F6BD046481D}" type="presParOf" srcId="{B4C69FCC-F0D1-4022-ADAA-E51241D0D72C}" destId="{F7179E52-B2FA-459F-8DB9-433EDE6C04EA}" srcOrd="5" destOrd="0" presId="urn:microsoft.com/office/officeart/2005/8/layout/orgChart1"/>
    <dgm:cxn modelId="{3AAFABC1-0F07-455F-B497-63CB739940A2}" type="presParOf" srcId="{F7179E52-B2FA-459F-8DB9-433EDE6C04EA}" destId="{98E0CDE5-1041-4B70-B426-AE51D01231AE}" srcOrd="0" destOrd="0" presId="urn:microsoft.com/office/officeart/2005/8/layout/orgChart1"/>
    <dgm:cxn modelId="{BC031637-0A4D-4283-8C19-85F3D500A6AA}" type="presParOf" srcId="{98E0CDE5-1041-4B70-B426-AE51D01231AE}" destId="{17D7E683-F5B8-42A7-9A5E-85AEFC1CA089}" srcOrd="0" destOrd="0" presId="urn:microsoft.com/office/officeart/2005/8/layout/orgChart1"/>
    <dgm:cxn modelId="{EEFF10C6-C990-4FB4-AF95-C5143AAC9F60}" type="presParOf" srcId="{98E0CDE5-1041-4B70-B426-AE51D01231AE}" destId="{7C86C788-A923-4057-A306-2ABF7FB878FF}" srcOrd="1" destOrd="0" presId="urn:microsoft.com/office/officeart/2005/8/layout/orgChart1"/>
    <dgm:cxn modelId="{AA657428-9098-4148-B7CF-7F915F188327}" type="presParOf" srcId="{F7179E52-B2FA-459F-8DB9-433EDE6C04EA}" destId="{3D221CCE-6B34-4FCC-8245-959DC8628C2C}" srcOrd="1" destOrd="0" presId="urn:microsoft.com/office/officeart/2005/8/layout/orgChart1"/>
    <dgm:cxn modelId="{0637A6B9-F013-434E-83BF-7950A36BCD7B}" type="presParOf" srcId="{F7179E52-B2FA-459F-8DB9-433EDE6C04EA}" destId="{49BADFFA-5734-4034-9BF2-8D853B417783}" srcOrd="2" destOrd="0" presId="urn:microsoft.com/office/officeart/2005/8/layout/orgChart1"/>
    <dgm:cxn modelId="{E7F37854-7276-4140-826F-F93E0CD55673}" type="presParOf" srcId="{B4C69FCC-F0D1-4022-ADAA-E51241D0D72C}" destId="{9EE31B11-A3E5-457D-8905-7940DD947FFB}" srcOrd="6" destOrd="0" presId="urn:microsoft.com/office/officeart/2005/8/layout/orgChart1"/>
    <dgm:cxn modelId="{2EF5CF0D-E7A4-41F3-9E4A-D96723938DB7}" type="presParOf" srcId="{B4C69FCC-F0D1-4022-ADAA-E51241D0D72C}" destId="{F5BD3E17-CA84-4B20-939A-A7BAD04D4932}" srcOrd="7" destOrd="0" presId="urn:microsoft.com/office/officeart/2005/8/layout/orgChart1"/>
    <dgm:cxn modelId="{1E432D11-1907-43CE-8928-4F023C569381}" type="presParOf" srcId="{F5BD3E17-CA84-4B20-939A-A7BAD04D4932}" destId="{D0896811-6154-4708-93E6-2219021D5DB7}" srcOrd="0" destOrd="0" presId="urn:microsoft.com/office/officeart/2005/8/layout/orgChart1"/>
    <dgm:cxn modelId="{86F2451F-B18F-43C7-AF45-2AF13E918298}" type="presParOf" srcId="{D0896811-6154-4708-93E6-2219021D5DB7}" destId="{4C69988B-0EA9-4A05-9EEB-0C6FEC68456E}" srcOrd="0" destOrd="0" presId="urn:microsoft.com/office/officeart/2005/8/layout/orgChart1"/>
    <dgm:cxn modelId="{235A33BF-886D-40C8-99D8-F57F74958313}" type="presParOf" srcId="{D0896811-6154-4708-93E6-2219021D5DB7}" destId="{6CB9BB3E-A5AE-4D9E-9D20-0E1EDB55FD30}" srcOrd="1" destOrd="0" presId="urn:microsoft.com/office/officeart/2005/8/layout/orgChart1"/>
    <dgm:cxn modelId="{CCEA6837-C69D-4B94-92CC-4914B36392B2}" type="presParOf" srcId="{F5BD3E17-CA84-4B20-939A-A7BAD04D4932}" destId="{CF9302D8-1F8D-4D25-BC05-D957A94422E0}" srcOrd="1" destOrd="0" presId="urn:microsoft.com/office/officeart/2005/8/layout/orgChart1"/>
    <dgm:cxn modelId="{DD2302CB-1743-4FB4-97F2-EFBE8980F00E}" type="presParOf" srcId="{F5BD3E17-CA84-4B20-939A-A7BAD04D4932}" destId="{455BAEDE-53EC-47B0-95AC-B7E124FE1942}" srcOrd="2" destOrd="0" presId="urn:microsoft.com/office/officeart/2005/8/layout/orgChart1"/>
    <dgm:cxn modelId="{D97115F5-A98C-4A6D-A865-9E0C2F09152A}" type="presParOf" srcId="{BC0E4E6C-D6A7-47C9-95CD-236EE2C132DB}" destId="{588C2C50-7E4B-496E-89CF-47F1F83DDD87}" srcOrd="2" destOrd="0" presId="urn:microsoft.com/office/officeart/2005/8/layout/orgChart1"/>
    <dgm:cxn modelId="{D835EABB-5D18-4AEA-9208-58D8D5451197}" type="presParOf" srcId="{7B197D1A-6162-4FEB-B154-4F7001153217}" destId="{D6768F99-5E3D-414F-A50B-A37026827B9E}" srcOrd="12" destOrd="0" presId="urn:microsoft.com/office/officeart/2005/8/layout/orgChart1"/>
    <dgm:cxn modelId="{657D5B2C-42F2-44D0-9443-A30E0F871381}" type="presParOf" srcId="{7B197D1A-6162-4FEB-B154-4F7001153217}" destId="{6A845C1C-AB4C-44E0-82D8-A162CBB0C522}" srcOrd="13" destOrd="0" presId="urn:microsoft.com/office/officeart/2005/8/layout/orgChart1"/>
    <dgm:cxn modelId="{0E43908E-57D7-41E2-AD18-5DF91F97FC4C}" type="presParOf" srcId="{6A845C1C-AB4C-44E0-82D8-A162CBB0C522}" destId="{0A601BC2-4221-4D1A-AA70-C916D2582115}" srcOrd="0" destOrd="0" presId="urn:microsoft.com/office/officeart/2005/8/layout/orgChart1"/>
    <dgm:cxn modelId="{F55AC859-77EE-46CE-AD19-308FAFC4EB8E}" type="presParOf" srcId="{0A601BC2-4221-4D1A-AA70-C916D2582115}" destId="{A0EF915C-80E5-44F8-B5D1-09F69E707861}" srcOrd="0" destOrd="0" presId="urn:microsoft.com/office/officeart/2005/8/layout/orgChart1"/>
    <dgm:cxn modelId="{76173433-DBDC-47C0-B304-058447E74487}" type="presParOf" srcId="{0A601BC2-4221-4D1A-AA70-C916D2582115}" destId="{99650056-94D2-4A56-96A9-7822065932B3}" srcOrd="1" destOrd="0" presId="urn:microsoft.com/office/officeart/2005/8/layout/orgChart1"/>
    <dgm:cxn modelId="{8CE8ED82-5F79-459A-BC0E-36CA837B1826}" type="presParOf" srcId="{6A845C1C-AB4C-44E0-82D8-A162CBB0C522}" destId="{BAA131B0-6168-492E-916A-618211606E15}" srcOrd="1" destOrd="0" presId="urn:microsoft.com/office/officeart/2005/8/layout/orgChart1"/>
    <dgm:cxn modelId="{91DBBF57-5E23-43A1-9E63-D01282399A28}" type="presParOf" srcId="{BAA131B0-6168-492E-916A-618211606E15}" destId="{4D516AF4-BB54-411B-9A44-A50B23FB734F}" srcOrd="0" destOrd="0" presId="urn:microsoft.com/office/officeart/2005/8/layout/orgChart1"/>
    <dgm:cxn modelId="{4EFEFC3C-7DCE-46B7-97C3-CDA795487541}" type="presParOf" srcId="{BAA131B0-6168-492E-916A-618211606E15}" destId="{4B2CAD07-0669-4F8D-8419-ACDC269E834A}" srcOrd="1" destOrd="0" presId="urn:microsoft.com/office/officeart/2005/8/layout/orgChart1"/>
    <dgm:cxn modelId="{A2FF0C58-D279-4C05-9ABD-44048A58C637}" type="presParOf" srcId="{4B2CAD07-0669-4F8D-8419-ACDC269E834A}" destId="{29BE398D-FC24-4853-AF2F-CC62AE90365B}" srcOrd="0" destOrd="0" presId="urn:microsoft.com/office/officeart/2005/8/layout/orgChart1"/>
    <dgm:cxn modelId="{4FE4A9AD-DBF6-4304-8F75-D2609B0B9FA0}" type="presParOf" srcId="{29BE398D-FC24-4853-AF2F-CC62AE90365B}" destId="{93D5BFBD-AF38-4246-A7FC-4D7CCB71F081}" srcOrd="0" destOrd="0" presId="urn:microsoft.com/office/officeart/2005/8/layout/orgChart1"/>
    <dgm:cxn modelId="{41B66F91-EE91-4A74-92F5-37F86EA6632F}" type="presParOf" srcId="{29BE398D-FC24-4853-AF2F-CC62AE90365B}" destId="{F3038452-84FB-4BC5-B98C-3BC4081B88F9}" srcOrd="1" destOrd="0" presId="urn:microsoft.com/office/officeart/2005/8/layout/orgChart1"/>
    <dgm:cxn modelId="{E8BD45E9-1D7F-400E-B849-3C7C003D2E5F}" type="presParOf" srcId="{4B2CAD07-0669-4F8D-8419-ACDC269E834A}" destId="{AB8A4BA2-BFEE-4290-A83A-84CD21191C8E}" srcOrd="1" destOrd="0" presId="urn:microsoft.com/office/officeart/2005/8/layout/orgChart1"/>
    <dgm:cxn modelId="{9156C678-91D3-4642-B1D3-111A3529C83C}" type="presParOf" srcId="{4B2CAD07-0669-4F8D-8419-ACDC269E834A}" destId="{995E5B30-2DED-48F5-9706-F97DE50D8F72}" srcOrd="2" destOrd="0" presId="urn:microsoft.com/office/officeart/2005/8/layout/orgChart1"/>
    <dgm:cxn modelId="{DFDFB101-FB61-4E35-B6AE-4A97A32B8263}" type="presParOf" srcId="{6A845C1C-AB4C-44E0-82D8-A162CBB0C522}" destId="{F2BE06F9-8B56-4EE1-8715-83D0AD794EC5}" srcOrd="2" destOrd="0" presId="urn:microsoft.com/office/officeart/2005/8/layout/orgChart1"/>
    <dgm:cxn modelId="{6D616617-C4E7-4F01-86A1-059B1C61C2AB}" type="presParOf" srcId="{22E0A359-25CD-4AF4-BE6D-D17D299DB5A2}" destId="{5DD74158-0EC2-4B62-822A-00FB2E3B2FEE}" srcOrd="2" destOrd="0" presId="urn:microsoft.com/office/officeart/2005/8/layout/orgChart1"/>
    <dgm:cxn modelId="{C449D64B-B67D-4267-B162-B8EFDC81B996}" type="presParOf" srcId="{5DD74158-0EC2-4B62-822A-00FB2E3B2FEE}" destId="{7F2DFE19-462D-4DFA-A414-D8D869C47705}" srcOrd="0" destOrd="0" presId="urn:microsoft.com/office/officeart/2005/8/layout/orgChart1"/>
    <dgm:cxn modelId="{C1853601-6F46-44C1-ACA9-D49EA1776B6D}" type="presParOf" srcId="{5DD74158-0EC2-4B62-822A-00FB2E3B2FEE}" destId="{C3A77954-C69B-444B-A6E0-E3F22CA58873}" srcOrd="1" destOrd="0" presId="urn:microsoft.com/office/officeart/2005/8/layout/orgChart1"/>
    <dgm:cxn modelId="{3AB745E7-C8D1-4134-82AC-D071A4421621}" type="presParOf" srcId="{C3A77954-C69B-444B-A6E0-E3F22CA58873}" destId="{D7E4F917-37D2-451D-9C9F-6645B948E61B}" srcOrd="0" destOrd="0" presId="urn:microsoft.com/office/officeart/2005/8/layout/orgChart1"/>
    <dgm:cxn modelId="{8311F637-733F-46EB-B709-44D8A2F35138}" type="presParOf" srcId="{D7E4F917-37D2-451D-9C9F-6645B948E61B}" destId="{E2772E75-7AEC-4F34-A7C3-CBFE335FD143}" srcOrd="0" destOrd="0" presId="urn:microsoft.com/office/officeart/2005/8/layout/orgChart1"/>
    <dgm:cxn modelId="{4022F21F-025C-40E4-8EB5-D8011B6E9DC1}" type="presParOf" srcId="{D7E4F917-37D2-451D-9C9F-6645B948E61B}" destId="{EA44C6DC-986D-4186-ADD7-4BB63E80C046}" srcOrd="1" destOrd="0" presId="urn:microsoft.com/office/officeart/2005/8/layout/orgChart1"/>
    <dgm:cxn modelId="{25DE3A54-D23B-44DE-8819-1A8B2C31581C}" type="presParOf" srcId="{C3A77954-C69B-444B-A6E0-E3F22CA58873}" destId="{E6550031-DFD4-495D-8A6A-38F90F5BA6A2}" srcOrd="1" destOrd="0" presId="urn:microsoft.com/office/officeart/2005/8/layout/orgChart1"/>
    <dgm:cxn modelId="{39F34675-EDF5-4C20-A84B-11760D8901A8}" type="presParOf" srcId="{C3A77954-C69B-444B-A6E0-E3F22CA58873}" destId="{0697CB8E-005A-4263-9A6A-D2230FDA671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2DFE19-462D-4DFA-A414-D8D869C47705}">
      <dsp:nvSpPr>
        <dsp:cNvPr id="0" name=""/>
        <dsp:cNvSpPr/>
      </dsp:nvSpPr>
      <dsp:spPr>
        <a:xfrm>
          <a:off x="5648231" y="581939"/>
          <a:ext cx="121479" cy="532195"/>
        </a:xfrm>
        <a:custGeom>
          <a:avLst/>
          <a:gdLst/>
          <a:ahLst/>
          <a:cxnLst/>
          <a:rect l="0" t="0" r="0" b="0"/>
          <a:pathLst>
            <a:path>
              <a:moveTo>
                <a:pt x="121479" y="0"/>
              </a:moveTo>
              <a:lnTo>
                <a:pt x="121479" y="532195"/>
              </a:lnTo>
              <a:lnTo>
                <a:pt x="0" y="532195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516AF4-BB54-411B-9A44-A50B23FB734F}">
      <dsp:nvSpPr>
        <dsp:cNvPr id="0" name=""/>
        <dsp:cNvSpPr/>
      </dsp:nvSpPr>
      <dsp:spPr>
        <a:xfrm>
          <a:off x="9506651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768F99-5E3D-414F-A50B-A37026827B9E}">
      <dsp:nvSpPr>
        <dsp:cNvPr id="0" name=""/>
        <dsp:cNvSpPr/>
      </dsp:nvSpPr>
      <dsp:spPr>
        <a:xfrm>
          <a:off x="5769711" y="581939"/>
          <a:ext cx="4199719" cy="1064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2912"/>
              </a:lnTo>
              <a:lnTo>
                <a:pt x="4199719" y="942912"/>
              </a:lnTo>
              <a:lnTo>
                <a:pt x="4199719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E31B11-A3E5-457D-8905-7940DD947FFB}">
      <dsp:nvSpPr>
        <dsp:cNvPr id="0" name=""/>
        <dsp:cNvSpPr/>
      </dsp:nvSpPr>
      <dsp:spPr>
        <a:xfrm>
          <a:off x="8106744" y="2224804"/>
          <a:ext cx="173542" cy="29964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6493"/>
              </a:lnTo>
              <a:lnTo>
                <a:pt x="173542" y="2996493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D3D7C0-6493-4728-B0E1-78CDBAF0ECFA}">
      <dsp:nvSpPr>
        <dsp:cNvPr id="0" name=""/>
        <dsp:cNvSpPr/>
      </dsp:nvSpPr>
      <dsp:spPr>
        <a:xfrm>
          <a:off x="8106744" y="2224804"/>
          <a:ext cx="173542" cy="21750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061"/>
              </a:lnTo>
              <a:lnTo>
                <a:pt x="173542" y="2175061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8958D3-A4FF-4983-847D-5AF58665D963}">
      <dsp:nvSpPr>
        <dsp:cNvPr id="0" name=""/>
        <dsp:cNvSpPr/>
      </dsp:nvSpPr>
      <dsp:spPr>
        <a:xfrm>
          <a:off x="8106744" y="2224804"/>
          <a:ext cx="173542" cy="1353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3628"/>
              </a:lnTo>
              <a:lnTo>
                <a:pt x="173542" y="1353628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FA3ED4-5F5F-4961-937F-E02834F8E099}">
      <dsp:nvSpPr>
        <dsp:cNvPr id="0" name=""/>
        <dsp:cNvSpPr/>
      </dsp:nvSpPr>
      <dsp:spPr>
        <a:xfrm>
          <a:off x="8106744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44A605-AB1F-4BDE-9483-8BAC6B423B0C}">
      <dsp:nvSpPr>
        <dsp:cNvPr id="0" name=""/>
        <dsp:cNvSpPr/>
      </dsp:nvSpPr>
      <dsp:spPr>
        <a:xfrm>
          <a:off x="5769711" y="581939"/>
          <a:ext cx="2799812" cy="1064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2912"/>
              </a:lnTo>
              <a:lnTo>
                <a:pt x="2799812" y="942912"/>
              </a:lnTo>
              <a:lnTo>
                <a:pt x="2799812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4D5908-4001-44D5-97BB-A7CDEDFB1C95}">
      <dsp:nvSpPr>
        <dsp:cNvPr id="0" name=""/>
        <dsp:cNvSpPr/>
      </dsp:nvSpPr>
      <dsp:spPr>
        <a:xfrm>
          <a:off x="6706838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6CD7F-B22A-49A6-91FC-06C0957AF773}">
      <dsp:nvSpPr>
        <dsp:cNvPr id="0" name=""/>
        <dsp:cNvSpPr/>
      </dsp:nvSpPr>
      <dsp:spPr>
        <a:xfrm>
          <a:off x="5769711" y="581939"/>
          <a:ext cx="1399906" cy="1064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2912"/>
              </a:lnTo>
              <a:lnTo>
                <a:pt x="1399906" y="942912"/>
              </a:lnTo>
              <a:lnTo>
                <a:pt x="1399906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9A5CD-1D47-4727-9FE2-7E521C06E179}">
      <dsp:nvSpPr>
        <dsp:cNvPr id="0" name=""/>
        <dsp:cNvSpPr/>
      </dsp:nvSpPr>
      <dsp:spPr>
        <a:xfrm>
          <a:off x="5306932" y="2224804"/>
          <a:ext cx="173542" cy="1353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3628"/>
              </a:lnTo>
              <a:lnTo>
                <a:pt x="173542" y="1353628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798E84-1826-453D-8899-27D1D6D293F1}">
      <dsp:nvSpPr>
        <dsp:cNvPr id="0" name=""/>
        <dsp:cNvSpPr/>
      </dsp:nvSpPr>
      <dsp:spPr>
        <a:xfrm>
          <a:off x="5306932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CB8695-6A6F-4110-9BA8-3B7811DB9BFA}">
      <dsp:nvSpPr>
        <dsp:cNvPr id="0" name=""/>
        <dsp:cNvSpPr/>
      </dsp:nvSpPr>
      <dsp:spPr>
        <a:xfrm>
          <a:off x="5723991" y="581939"/>
          <a:ext cx="91440" cy="10643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9012D5-96CB-4238-9C5C-FCE12B27ABCD}">
      <dsp:nvSpPr>
        <dsp:cNvPr id="0" name=""/>
        <dsp:cNvSpPr/>
      </dsp:nvSpPr>
      <dsp:spPr>
        <a:xfrm>
          <a:off x="3907025" y="2224804"/>
          <a:ext cx="173542" cy="38179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17926"/>
              </a:lnTo>
              <a:lnTo>
                <a:pt x="173542" y="3817926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0A9133-9D8D-4311-B630-97F271835AC4}">
      <dsp:nvSpPr>
        <dsp:cNvPr id="0" name=""/>
        <dsp:cNvSpPr/>
      </dsp:nvSpPr>
      <dsp:spPr>
        <a:xfrm>
          <a:off x="3907025" y="2224804"/>
          <a:ext cx="173542" cy="29964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6493"/>
              </a:lnTo>
              <a:lnTo>
                <a:pt x="173542" y="2996493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705D80-A895-46DA-AD3E-30F2C1DEA5B6}">
      <dsp:nvSpPr>
        <dsp:cNvPr id="0" name=""/>
        <dsp:cNvSpPr/>
      </dsp:nvSpPr>
      <dsp:spPr>
        <a:xfrm>
          <a:off x="3907025" y="2224804"/>
          <a:ext cx="173542" cy="21750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061"/>
              </a:lnTo>
              <a:lnTo>
                <a:pt x="173542" y="2175061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04B380-04B0-4EB3-BDF0-7C6B8DEA850B}">
      <dsp:nvSpPr>
        <dsp:cNvPr id="0" name=""/>
        <dsp:cNvSpPr/>
      </dsp:nvSpPr>
      <dsp:spPr>
        <a:xfrm>
          <a:off x="3907025" y="2224804"/>
          <a:ext cx="173542" cy="1353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3628"/>
              </a:lnTo>
              <a:lnTo>
                <a:pt x="173542" y="1353628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0EB70D-8B66-444D-AF14-9665ED459AB4}">
      <dsp:nvSpPr>
        <dsp:cNvPr id="0" name=""/>
        <dsp:cNvSpPr/>
      </dsp:nvSpPr>
      <dsp:spPr>
        <a:xfrm>
          <a:off x="3907025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8DA1DE-8E0B-4E11-A40F-7EEC2C0D9A3E}">
      <dsp:nvSpPr>
        <dsp:cNvPr id="0" name=""/>
        <dsp:cNvSpPr/>
      </dsp:nvSpPr>
      <dsp:spPr>
        <a:xfrm>
          <a:off x="4369804" y="581939"/>
          <a:ext cx="1399906" cy="1064391"/>
        </a:xfrm>
        <a:custGeom>
          <a:avLst/>
          <a:gdLst/>
          <a:ahLst/>
          <a:cxnLst/>
          <a:rect l="0" t="0" r="0" b="0"/>
          <a:pathLst>
            <a:path>
              <a:moveTo>
                <a:pt x="1399906" y="0"/>
              </a:moveTo>
              <a:lnTo>
                <a:pt x="1399906" y="942912"/>
              </a:lnTo>
              <a:lnTo>
                <a:pt x="0" y="942912"/>
              </a:lnTo>
              <a:lnTo>
                <a:pt x="0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5A8324-0154-4BAE-A282-BD7F9874BF84}">
      <dsp:nvSpPr>
        <dsp:cNvPr id="0" name=""/>
        <dsp:cNvSpPr/>
      </dsp:nvSpPr>
      <dsp:spPr>
        <a:xfrm>
          <a:off x="2507119" y="2224804"/>
          <a:ext cx="173542" cy="38179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17926"/>
              </a:lnTo>
              <a:lnTo>
                <a:pt x="173542" y="3817926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D347BC-BDA0-475C-9A50-42A81474D152}">
      <dsp:nvSpPr>
        <dsp:cNvPr id="0" name=""/>
        <dsp:cNvSpPr/>
      </dsp:nvSpPr>
      <dsp:spPr>
        <a:xfrm>
          <a:off x="2507119" y="2224804"/>
          <a:ext cx="173542" cy="29964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6493"/>
              </a:lnTo>
              <a:lnTo>
                <a:pt x="173542" y="2996493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37F12-F8D7-4C01-9BD1-14E1722C630B}">
      <dsp:nvSpPr>
        <dsp:cNvPr id="0" name=""/>
        <dsp:cNvSpPr/>
      </dsp:nvSpPr>
      <dsp:spPr>
        <a:xfrm>
          <a:off x="2507119" y="2224804"/>
          <a:ext cx="173542" cy="21750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061"/>
              </a:lnTo>
              <a:lnTo>
                <a:pt x="173542" y="2175061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D6B534-17B7-4E2A-A82A-2E65B6138EBD}">
      <dsp:nvSpPr>
        <dsp:cNvPr id="0" name=""/>
        <dsp:cNvSpPr/>
      </dsp:nvSpPr>
      <dsp:spPr>
        <a:xfrm>
          <a:off x="2507119" y="2224804"/>
          <a:ext cx="173542" cy="1353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3628"/>
              </a:lnTo>
              <a:lnTo>
                <a:pt x="173542" y="1353628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E08824-7192-4473-81A9-8208719BFD7A}">
      <dsp:nvSpPr>
        <dsp:cNvPr id="0" name=""/>
        <dsp:cNvSpPr/>
      </dsp:nvSpPr>
      <dsp:spPr>
        <a:xfrm>
          <a:off x="2507119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36A8A-C68D-4121-AD11-91B8B24C2507}">
      <dsp:nvSpPr>
        <dsp:cNvPr id="0" name=""/>
        <dsp:cNvSpPr/>
      </dsp:nvSpPr>
      <dsp:spPr>
        <a:xfrm>
          <a:off x="2969898" y="581939"/>
          <a:ext cx="2799812" cy="1064391"/>
        </a:xfrm>
        <a:custGeom>
          <a:avLst/>
          <a:gdLst/>
          <a:ahLst/>
          <a:cxnLst/>
          <a:rect l="0" t="0" r="0" b="0"/>
          <a:pathLst>
            <a:path>
              <a:moveTo>
                <a:pt x="2799812" y="0"/>
              </a:moveTo>
              <a:lnTo>
                <a:pt x="2799812" y="942912"/>
              </a:lnTo>
              <a:lnTo>
                <a:pt x="0" y="942912"/>
              </a:lnTo>
              <a:lnTo>
                <a:pt x="0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506941-B4E1-473E-86D6-E1D64C16E617}">
      <dsp:nvSpPr>
        <dsp:cNvPr id="0" name=""/>
        <dsp:cNvSpPr/>
      </dsp:nvSpPr>
      <dsp:spPr>
        <a:xfrm>
          <a:off x="1107213" y="2224804"/>
          <a:ext cx="173542" cy="38179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17926"/>
              </a:lnTo>
              <a:lnTo>
                <a:pt x="173542" y="3817926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C05370-522E-4EA7-9278-63D9BA2E3AE1}">
      <dsp:nvSpPr>
        <dsp:cNvPr id="0" name=""/>
        <dsp:cNvSpPr/>
      </dsp:nvSpPr>
      <dsp:spPr>
        <a:xfrm>
          <a:off x="1107213" y="2224804"/>
          <a:ext cx="173542" cy="29964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6493"/>
              </a:lnTo>
              <a:lnTo>
                <a:pt x="173542" y="2996493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3D7A11-8356-43AE-9658-1D6F345305D9}">
      <dsp:nvSpPr>
        <dsp:cNvPr id="0" name=""/>
        <dsp:cNvSpPr/>
      </dsp:nvSpPr>
      <dsp:spPr>
        <a:xfrm>
          <a:off x="1107213" y="2224804"/>
          <a:ext cx="173542" cy="21750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061"/>
              </a:lnTo>
              <a:lnTo>
                <a:pt x="173542" y="2175061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4D61FC-3C0B-4BE0-9499-3C7855571502}">
      <dsp:nvSpPr>
        <dsp:cNvPr id="0" name=""/>
        <dsp:cNvSpPr/>
      </dsp:nvSpPr>
      <dsp:spPr>
        <a:xfrm>
          <a:off x="1107213" y="2224804"/>
          <a:ext cx="173542" cy="1353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3628"/>
              </a:lnTo>
              <a:lnTo>
                <a:pt x="173542" y="1353628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DC0F00-0C9A-46FD-8174-E5AD753358F4}">
      <dsp:nvSpPr>
        <dsp:cNvPr id="0" name=""/>
        <dsp:cNvSpPr/>
      </dsp:nvSpPr>
      <dsp:spPr>
        <a:xfrm>
          <a:off x="1107213" y="2224804"/>
          <a:ext cx="173542" cy="532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2195"/>
              </a:lnTo>
              <a:lnTo>
                <a:pt x="173542" y="53219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6CAFBA-14DC-42D2-8031-5C4FB32005D0}">
      <dsp:nvSpPr>
        <dsp:cNvPr id="0" name=""/>
        <dsp:cNvSpPr/>
      </dsp:nvSpPr>
      <dsp:spPr>
        <a:xfrm>
          <a:off x="1569992" y="581939"/>
          <a:ext cx="4199719" cy="1064391"/>
        </a:xfrm>
        <a:custGeom>
          <a:avLst/>
          <a:gdLst/>
          <a:ahLst/>
          <a:cxnLst/>
          <a:rect l="0" t="0" r="0" b="0"/>
          <a:pathLst>
            <a:path>
              <a:moveTo>
                <a:pt x="4199719" y="0"/>
              </a:moveTo>
              <a:lnTo>
                <a:pt x="4199719" y="942912"/>
              </a:lnTo>
              <a:lnTo>
                <a:pt x="0" y="942912"/>
              </a:lnTo>
              <a:lnTo>
                <a:pt x="0" y="1064391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174214-8A6F-4F8D-9321-931538E76622}">
      <dsp:nvSpPr>
        <dsp:cNvPr id="0" name=""/>
        <dsp:cNvSpPr/>
      </dsp:nvSpPr>
      <dsp:spPr>
        <a:xfrm>
          <a:off x="5191237" y="3465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T Director</a:t>
          </a:r>
        </a:p>
      </dsp:txBody>
      <dsp:txXfrm>
        <a:off x="5191237" y="3465"/>
        <a:ext cx="1156947" cy="578473"/>
      </dsp:txXfrm>
    </dsp:sp>
    <dsp:sp modelId="{5B423CE2-3EA8-451A-98BA-BA5AD19CC72C}">
      <dsp:nvSpPr>
        <dsp:cNvPr id="0" name=""/>
        <dsp:cNvSpPr/>
      </dsp:nvSpPr>
      <dsp:spPr>
        <a:xfrm>
          <a:off x="991518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D Service Delivery</a:t>
          </a:r>
        </a:p>
      </dsp:txBody>
      <dsp:txXfrm>
        <a:off x="991518" y="1646331"/>
        <a:ext cx="1156947" cy="578473"/>
      </dsp:txXfrm>
    </dsp:sp>
    <dsp:sp modelId="{975F57F8-B84E-4AB1-B42B-028D56D16F0A}">
      <dsp:nvSpPr>
        <dsp:cNvPr id="0" name=""/>
        <dsp:cNvSpPr/>
      </dsp:nvSpPr>
      <dsp:spPr>
        <a:xfrm>
          <a:off x="1280755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Architecture &amp; Governance</a:t>
          </a:r>
        </a:p>
      </dsp:txBody>
      <dsp:txXfrm>
        <a:off x="1280755" y="2467763"/>
        <a:ext cx="1156947" cy="578473"/>
      </dsp:txXfrm>
    </dsp:sp>
    <dsp:sp modelId="{7C3DF0A3-8FEA-40ED-83F8-EABF46B90358}">
      <dsp:nvSpPr>
        <dsp:cNvPr id="0" name=""/>
        <dsp:cNvSpPr/>
      </dsp:nvSpPr>
      <dsp:spPr>
        <a:xfrm>
          <a:off x="1280755" y="3289196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Service Delivery Office</a:t>
          </a:r>
        </a:p>
      </dsp:txBody>
      <dsp:txXfrm>
        <a:off x="1280755" y="3289196"/>
        <a:ext cx="1156947" cy="578473"/>
      </dsp:txXfrm>
    </dsp:sp>
    <dsp:sp modelId="{B977E33C-0EDB-492A-B461-1CDE1588BD1F}">
      <dsp:nvSpPr>
        <dsp:cNvPr id="0" name=""/>
        <dsp:cNvSpPr/>
      </dsp:nvSpPr>
      <dsp:spPr>
        <a:xfrm>
          <a:off x="1280755" y="4110629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Design</a:t>
          </a:r>
        </a:p>
      </dsp:txBody>
      <dsp:txXfrm>
        <a:off x="1280755" y="4110629"/>
        <a:ext cx="1156947" cy="578473"/>
      </dsp:txXfrm>
    </dsp:sp>
    <dsp:sp modelId="{7ED57EB1-2472-4F01-953B-811AA4FAE120}">
      <dsp:nvSpPr>
        <dsp:cNvPr id="0" name=""/>
        <dsp:cNvSpPr/>
      </dsp:nvSpPr>
      <dsp:spPr>
        <a:xfrm>
          <a:off x="1280755" y="493206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Development</a:t>
          </a:r>
        </a:p>
      </dsp:txBody>
      <dsp:txXfrm>
        <a:off x="1280755" y="4932061"/>
        <a:ext cx="1156947" cy="578473"/>
      </dsp:txXfrm>
    </dsp:sp>
    <dsp:sp modelId="{1DD5F1FD-8D7D-4784-9C4B-DCADAB0414DE}">
      <dsp:nvSpPr>
        <dsp:cNvPr id="0" name=""/>
        <dsp:cNvSpPr/>
      </dsp:nvSpPr>
      <dsp:spPr>
        <a:xfrm>
          <a:off x="1280755" y="5753494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Test</a:t>
          </a:r>
        </a:p>
      </dsp:txBody>
      <dsp:txXfrm>
        <a:off x="1280755" y="5753494"/>
        <a:ext cx="1156947" cy="578473"/>
      </dsp:txXfrm>
    </dsp:sp>
    <dsp:sp modelId="{50058357-DD17-40E3-BD4C-5B6B533A28F1}">
      <dsp:nvSpPr>
        <dsp:cNvPr id="0" name=""/>
        <dsp:cNvSpPr/>
      </dsp:nvSpPr>
      <dsp:spPr>
        <a:xfrm>
          <a:off x="2391424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D Service Management</a:t>
          </a:r>
        </a:p>
      </dsp:txBody>
      <dsp:txXfrm>
        <a:off x="2391424" y="1646331"/>
        <a:ext cx="1156947" cy="578473"/>
      </dsp:txXfrm>
    </dsp:sp>
    <dsp:sp modelId="{4FD35315-35F9-4765-831B-397662970EA7}">
      <dsp:nvSpPr>
        <dsp:cNvPr id="0" name=""/>
        <dsp:cNvSpPr/>
      </dsp:nvSpPr>
      <dsp:spPr>
        <a:xfrm>
          <a:off x="2680661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Service Desk</a:t>
          </a:r>
        </a:p>
      </dsp:txBody>
      <dsp:txXfrm>
        <a:off x="2680661" y="2467763"/>
        <a:ext cx="1156947" cy="578473"/>
      </dsp:txXfrm>
    </dsp:sp>
    <dsp:sp modelId="{C800D746-0C23-4916-BC92-CA6BD5AB7E8C}">
      <dsp:nvSpPr>
        <dsp:cNvPr id="0" name=""/>
        <dsp:cNvSpPr/>
      </dsp:nvSpPr>
      <dsp:spPr>
        <a:xfrm>
          <a:off x="2680661" y="3289196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Field Support</a:t>
          </a:r>
        </a:p>
      </dsp:txBody>
      <dsp:txXfrm>
        <a:off x="2680661" y="3289196"/>
        <a:ext cx="1156947" cy="578473"/>
      </dsp:txXfrm>
    </dsp:sp>
    <dsp:sp modelId="{5E2EC152-1896-4934-BF49-2086A09173DC}">
      <dsp:nvSpPr>
        <dsp:cNvPr id="0" name=""/>
        <dsp:cNvSpPr/>
      </dsp:nvSpPr>
      <dsp:spPr>
        <a:xfrm>
          <a:off x="2680661" y="4110629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Application Support</a:t>
          </a:r>
        </a:p>
      </dsp:txBody>
      <dsp:txXfrm>
        <a:off x="2680661" y="4110629"/>
        <a:ext cx="1156947" cy="578473"/>
      </dsp:txXfrm>
    </dsp:sp>
    <dsp:sp modelId="{0BD3DD64-59B2-4E23-A3E9-C228E9C15727}">
      <dsp:nvSpPr>
        <dsp:cNvPr id="0" name=""/>
        <dsp:cNvSpPr/>
      </dsp:nvSpPr>
      <dsp:spPr>
        <a:xfrm>
          <a:off x="2680661" y="493206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Business Relationships</a:t>
          </a:r>
        </a:p>
      </dsp:txBody>
      <dsp:txXfrm>
        <a:off x="2680661" y="4932061"/>
        <a:ext cx="1156947" cy="578473"/>
      </dsp:txXfrm>
    </dsp:sp>
    <dsp:sp modelId="{6E6D14F6-4F85-4419-9F67-B3B1D3771340}">
      <dsp:nvSpPr>
        <dsp:cNvPr id="0" name=""/>
        <dsp:cNvSpPr/>
      </dsp:nvSpPr>
      <dsp:spPr>
        <a:xfrm>
          <a:off x="2680661" y="5753494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Service Management</a:t>
          </a:r>
        </a:p>
      </dsp:txBody>
      <dsp:txXfrm>
        <a:off x="2680661" y="5753494"/>
        <a:ext cx="1156947" cy="578473"/>
      </dsp:txXfrm>
    </dsp:sp>
    <dsp:sp modelId="{B0D37D22-9103-4AC9-A936-B7B94FF81347}">
      <dsp:nvSpPr>
        <dsp:cNvPr id="0" name=""/>
        <dsp:cNvSpPr/>
      </dsp:nvSpPr>
      <dsp:spPr>
        <a:xfrm>
          <a:off x="3791331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D Operations</a:t>
          </a:r>
        </a:p>
      </dsp:txBody>
      <dsp:txXfrm>
        <a:off x="3791331" y="1646331"/>
        <a:ext cx="1156947" cy="578473"/>
      </dsp:txXfrm>
    </dsp:sp>
    <dsp:sp modelId="{D661967C-C6CB-4B45-99C1-3BC6A007D77F}">
      <dsp:nvSpPr>
        <dsp:cNvPr id="0" name=""/>
        <dsp:cNvSpPr/>
      </dsp:nvSpPr>
      <dsp:spPr>
        <a:xfrm>
          <a:off x="4080567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Networks</a:t>
          </a:r>
        </a:p>
      </dsp:txBody>
      <dsp:txXfrm>
        <a:off x="4080567" y="2467763"/>
        <a:ext cx="1156947" cy="578473"/>
      </dsp:txXfrm>
    </dsp:sp>
    <dsp:sp modelId="{120F3D84-857A-4C6A-9DE4-5BDC762A1547}">
      <dsp:nvSpPr>
        <dsp:cNvPr id="0" name=""/>
        <dsp:cNvSpPr/>
      </dsp:nvSpPr>
      <dsp:spPr>
        <a:xfrm>
          <a:off x="4080567" y="3289196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Server &amp; Storage</a:t>
          </a:r>
        </a:p>
      </dsp:txBody>
      <dsp:txXfrm>
        <a:off x="4080567" y="3289196"/>
        <a:ext cx="1156947" cy="578473"/>
      </dsp:txXfrm>
    </dsp:sp>
    <dsp:sp modelId="{5B25FF5A-F170-4059-81E5-9AAFC705E2DF}">
      <dsp:nvSpPr>
        <dsp:cNvPr id="0" name=""/>
        <dsp:cNvSpPr/>
      </dsp:nvSpPr>
      <dsp:spPr>
        <a:xfrm>
          <a:off x="4080567" y="4110629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Databases</a:t>
          </a:r>
        </a:p>
      </dsp:txBody>
      <dsp:txXfrm>
        <a:off x="4080567" y="4110629"/>
        <a:ext cx="1156947" cy="578473"/>
      </dsp:txXfrm>
    </dsp:sp>
    <dsp:sp modelId="{143A7E81-6929-4607-AA46-C69C90FB6EA4}">
      <dsp:nvSpPr>
        <dsp:cNvPr id="0" name=""/>
        <dsp:cNvSpPr/>
      </dsp:nvSpPr>
      <dsp:spPr>
        <a:xfrm>
          <a:off x="4080567" y="493206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Client Software</a:t>
          </a:r>
        </a:p>
      </dsp:txBody>
      <dsp:txXfrm>
        <a:off x="4080567" y="4932061"/>
        <a:ext cx="1156947" cy="578473"/>
      </dsp:txXfrm>
    </dsp:sp>
    <dsp:sp modelId="{256FC6BB-DDFA-4616-B4C9-8D4ACC72CD09}">
      <dsp:nvSpPr>
        <dsp:cNvPr id="0" name=""/>
        <dsp:cNvSpPr/>
      </dsp:nvSpPr>
      <dsp:spPr>
        <a:xfrm>
          <a:off x="4080567" y="5753494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Technical Architecture</a:t>
          </a:r>
        </a:p>
      </dsp:txBody>
      <dsp:txXfrm>
        <a:off x="4080567" y="5753494"/>
        <a:ext cx="1156947" cy="578473"/>
      </dsp:txXfrm>
    </dsp:sp>
    <dsp:sp modelId="{324D497E-2926-4E34-9096-31A1B24C0144}">
      <dsp:nvSpPr>
        <dsp:cNvPr id="0" name=""/>
        <dsp:cNvSpPr/>
      </dsp:nvSpPr>
      <dsp:spPr>
        <a:xfrm>
          <a:off x="5191237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Head of Enterprise Service Development</a:t>
          </a:r>
        </a:p>
      </dsp:txBody>
      <dsp:txXfrm>
        <a:off x="5191237" y="1646331"/>
        <a:ext cx="1156947" cy="578473"/>
      </dsp:txXfrm>
    </dsp:sp>
    <dsp:sp modelId="{A1C0B929-5955-426C-9B95-62BD7A0741FE}">
      <dsp:nvSpPr>
        <dsp:cNvPr id="0" name=""/>
        <dsp:cNvSpPr/>
      </dsp:nvSpPr>
      <dsp:spPr>
        <a:xfrm>
          <a:off x="5480474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ServiceNow Product Owner</a:t>
          </a:r>
        </a:p>
      </dsp:txBody>
      <dsp:txXfrm>
        <a:off x="5480474" y="2467763"/>
        <a:ext cx="1156947" cy="578473"/>
      </dsp:txXfrm>
    </dsp:sp>
    <dsp:sp modelId="{0202F198-A412-46DF-A6C4-7BBA642C6935}">
      <dsp:nvSpPr>
        <dsp:cNvPr id="0" name=""/>
        <dsp:cNvSpPr/>
      </dsp:nvSpPr>
      <dsp:spPr>
        <a:xfrm>
          <a:off x="5480474" y="3289196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Knowledge Management &amp; Comms</a:t>
          </a:r>
        </a:p>
      </dsp:txBody>
      <dsp:txXfrm>
        <a:off x="5480474" y="3289196"/>
        <a:ext cx="1156947" cy="578473"/>
      </dsp:txXfrm>
    </dsp:sp>
    <dsp:sp modelId="{19830783-0C76-48C1-8BC9-2D257A2854D5}">
      <dsp:nvSpPr>
        <dsp:cNvPr id="0" name=""/>
        <dsp:cNvSpPr/>
      </dsp:nvSpPr>
      <dsp:spPr>
        <a:xfrm>
          <a:off x="6591143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Head of Security</a:t>
          </a:r>
        </a:p>
      </dsp:txBody>
      <dsp:txXfrm>
        <a:off x="6591143" y="1646331"/>
        <a:ext cx="1156947" cy="578473"/>
      </dsp:txXfrm>
    </dsp:sp>
    <dsp:sp modelId="{C8014A0F-230A-4A1A-AC06-9EE93A2C745D}">
      <dsp:nvSpPr>
        <dsp:cNvPr id="0" name=""/>
        <dsp:cNvSpPr/>
      </dsp:nvSpPr>
      <dsp:spPr>
        <a:xfrm>
          <a:off x="6880380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IT Security</a:t>
          </a:r>
        </a:p>
      </dsp:txBody>
      <dsp:txXfrm>
        <a:off x="6880380" y="2467763"/>
        <a:ext cx="1156947" cy="578473"/>
      </dsp:txXfrm>
    </dsp:sp>
    <dsp:sp modelId="{EB60B28C-A24A-4083-A999-99822AFE96F0}">
      <dsp:nvSpPr>
        <dsp:cNvPr id="0" name=""/>
        <dsp:cNvSpPr/>
      </dsp:nvSpPr>
      <dsp:spPr>
        <a:xfrm>
          <a:off x="7991050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EL Manager</a:t>
          </a:r>
        </a:p>
      </dsp:txBody>
      <dsp:txXfrm>
        <a:off x="7991050" y="1646331"/>
        <a:ext cx="1156947" cy="578473"/>
      </dsp:txXfrm>
    </dsp:sp>
    <dsp:sp modelId="{FA5E02E9-F288-4B6B-BCBF-D0335BE074CF}">
      <dsp:nvSpPr>
        <dsp:cNvPr id="0" name=""/>
        <dsp:cNvSpPr/>
      </dsp:nvSpPr>
      <dsp:spPr>
        <a:xfrm>
          <a:off x="8280286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Training</a:t>
          </a:r>
        </a:p>
      </dsp:txBody>
      <dsp:txXfrm>
        <a:off x="8280286" y="2467763"/>
        <a:ext cx="1156947" cy="578473"/>
      </dsp:txXfrm>
    </dsp:sp>
    <dsp:sp modelId="{2AB2ED81-D175-4C8E-A518-63B3BBBCEDAB}">
      <dsp:nvSpPr>
        <dsp:cNvPr id="0" name=""/>
        <dsp:cNvSpPr/>
      </dsp:nvSpPr>
      <dsp:spPr>
        <a:xfrm>
          <a:off x="8280286" y="3289196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Content Development</a:t>
          </a:r>
        </a:p>
      </dsp:txBody>
      <dsp:txXfrm>
        <a:off x="8280286" y="3289196"/>
        <a:ext cx="1156947" cy="578473"/>
      </dsp:txXfrm>
    </dsp:sp>
    <dsp:sp modelId="{17D7E683-F5B8-42A7-9A5E-85AEFC1CA089}">
      <dsp:nvSpPr>
        <dsp:cNvPr id="0" name=""/>
        <dsp:cNvSpPr/>
      </dsp:nvSpPr>
      <dsp:spPr>
        <a:xfrm>
          <a:off x="8280286" y="4110629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Coaching</a:t>
          </a:r>
        </a:p>
      </dsp:txBody>
      <dsp:txXfrm>
        <a:off x="8280286" y="4110629"/>
        <a:ext cx="1156947" cy="578473"/>
      </dsp:txXfrm>
    </dsp:sp>
    <dsp:sp modelId="{4C69988B-0EA9-4A05-9EEB-0C6FEC68456E}">
      <dsp:nvSpPr>
        <dsp:cNvPr id="0" name=""/>
        <dsp:cNvSpPr/>
      </dsp:nvSpPr>
      <dsp:spPr>
        <a:xfrm>
          <a:off x="8280286" y="493206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IT Place</a:t>
          </a:r>
        </a:p>
      </dsp:txBody>
      <dsp:txXfrm>
        <a:off x="8280286" y="4932061"/>
        <a:ext cx="1156947" cy="578473"/>
      </dsp:txXfrm>
    </dsp:sp>
    <dsp:sp modelId="{A0EF915C-80E5-44F8-B5D1-09F69E707861}">
      <dsp:nvSpPr>
        <dsp:cNvPr id="0" name=""/>
        <dsp:cNvSpPr/>
      </dsp:nvSpPr>
      <dsp:spPr>
        <a:xfrm>
          <a:off x="9390956" y="1646331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rector of Norman</a:t>
          </a:r>
        </a:p>
      </dsp:txBody>
      <dsp:txXfrm>
        <a:off x="9390956" y="1646331"/>
        <a:ext cx="1156947" cy="578473"/>
      </dsp:txXfrm>
    </dsp:sp>
    <dsp:sp modelId="{93D5BFBD-AF38-4246-A7FC-4D7CCB71F081}">
      <dsp:nvSpPr>
        <dsp:cNvPr id="0" name=""/>
        <dsp:cNvSpPr/>
      </dsp:nvSpPr>
      <dsp:spPr>
        <a:xfrm>
          <a:off x="9680193" y="2467763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rgbClr r="0" g="0" b="0"/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kern="1200" dirty="0"/>
            <a:t>Norman Service Desk</a:t>
          </a:r>
        </a:p>
      </dsp:txBody>
      <dsp:txXfrm>
        <a:off x="9680193" y="2467763"/>
        <a:ext cx="1156947" cy="578473"/>
      </dsp:txXfrm>
    </dsp:sp>
    <dsp:sp modelId="{E2772E75-7AEC-4F34-A7C3-CBFE335FD143}">
      <dsp:nvSpPr>
        <dsp:cNvPr id="0" name=""/>
        <dsp:cNvSpPr/>
      </dsp:nvSpPr>
      <dsp:spPr>
        <a:xfrm>
          <a:off x="4491284" y="824898"/>
          <a:ext cx="1156947" cy="5784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/>
            <a:t>EA to IT Director</a:t>
          </a:r>
        </a:p>
      </dsp:txBody>
      <dsp:txXfrm>
        <a:off x="4491284" y="824898"/>
        <a:ext cx="1156947" cy="5784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A851A-8B42-430F-BC73-277EEBB6E9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148D0E-595A-4469-847A-9465DA6C4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C380C-11F9-45A5-B4C5-101D449ABD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BE6BA-6FFB-49D9-8D4F-4D888B324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09F16B-14BB-4EA0-ADB0-75990882F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350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C197E-C846-4091-9A67-F2FB91935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E7447B-5CF8-4C4D-8EB4-B81DE277BA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0530B2-E4F8-49F7-A3CA-3F34F06D1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ABEBE9-41E9-40A3-9B0D-C080584911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F0798B-9082-48F0-AF1C-C05FB5A45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8581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2CD5D8E-F690-4070-87FA-5D0D760817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537E6A-45E4-44AB-B064-9EAA3F7AB8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B7FE7C-7128-413F-AACA-2F36931F7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00F371-6709-4F26-B2E0-DD372C36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251BBD-1E77-477C-9963-7F74B79C6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6614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s TOT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362" y="6299510"/>
            <a:ext cx="2296304" cy="4788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1584" y="411770"/>
            <a:ext cx="1567542" cy="475633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55427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200150" indent="-285750">
              <a:buFont typeface="Wingdings" panose="05000000000000000000" pitchFamily="2" charset="2"/>
              <a:buChar char="§"/>
              <a:defRPr>
                <a:latin typeface="Azo Sans Thin" panose="020B0303030303020204" pitchFamily="34" charset="0"/>
              </a:defRPr>
            </a:lvl3pPr>
            <a:lvl4pPr marL="1657350" indent="-285750">
              <a:buFont typeface="Wingdings" panose="05000000000000000000" pitchFamily="2" charset="2"/>
              <a:buChar char="§"/>
              <a:defRPr>
                <a:latin typeface="Azo Sans Thin" panose="020B0303030303020204" pitchFamily="34" charset="0"/>
              </a:defRPr>
            </a:lvl4pPr>
            <a:lvl5pPr marL="2114550" indent="-285750">
              <a:buFont typeface="Wingdings" panose="05000000000000000000" pitchFamily="2" charset="2"/>
              <a:buChar char="§"/>
              <a:defRPr>
                <a:latin typeface="Azo Sans Thin" panose="020B03030303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4554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70C4FA-0DA2-470F-BFEF-56E857E51CBE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5427" y="411771"/>
            <a:ext cx="9285514" cy="1140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208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AA3B1-A4C4-4D1B-883C-AF8D3EA32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532A7-3E79-4BC8-8FDE-E5A0A19485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E411C-89FE-4484-A879-B90F307B0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533592-56A0-4DC9-AF05-334C7E3D8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0B28A8-1357-4ACF-8839-F8935A94B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08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7A75E-1C73-4F4F-8FD5-524A7064D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258FEC-2F5A-48C2-B8B9-FE07617243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2112DC-F416-428D-9706-11A6A58F4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2A301-83F6-4327-B35C-0CFEBA88F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46AA2D-B720-4E8D-A46D-B5E37B89E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0854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C8F4F-F659-428B-8A2C-72264402E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0C696-D3F8-41D7-BBCC-DF3AE294AD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BFB8CB-9935-4658-ADC5-DEEB2C8945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53245A-B0A7-4BEB-9AB2-7B6FC1643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7A94B7-E7D7-4350-B765-F0636802F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7B7F8E-F326-42AE-81E7-C2272B5C1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2534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193A2-0E0F-4CFB-9C69-C10D679E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C9B6A6-A3C0-482C-AB4E-29F9C3B5C9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E780A2-509B-4012-89B7-FC953842D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BECD95-6AD7-4943-A0DD-13906473B6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EE8E90-4454-419C-AEBD-6899AFA329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A27FAAD-FCDE-442C-BA18-18ECCF9E8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E929C95-29E7-4394-AF2D-08BC71641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30AD21-C881-4C2D-9903-1CEB9EAF3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932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83D29-EB29-42F6-96F2-6927F9C86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730BA8-6D36-43F6-AD8C-02B8EA06A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523F48-6C6E-4B07-8882-E78B94C13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1DBD45-F973-4CE2-81F6-5C8C16294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074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0BE326-E44B-4093-B2D2-7B3B09080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5977DF-D0B1-41D5-99D6-EE54E41BE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5F381-228B-4FBD-B67B-9F6DBA94F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332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3059D-74AA-40C5-A545-4E8B72B0F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18DF86-315D-4F4D-82D1-3E1C6A453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A1F821-5802-4FCB-A7B5-09F74B1B2F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C6DB19-98C9-4E6B-8AC7-C83FCEA0E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8356F-68B7-4EBC-8C42-BD159EBBA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5E570D-3BE0-4E59-B59E-7B74BEEA7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2392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05F92-0F3F-45E7-BAD8-2C1010E2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4A9B7E-C2A6-4497-8A7F-D3E2C7B6F0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F0F369-2234-40ED-86D4-C90DC474BE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3B9BCF-76D5-4EE7-A716-7B74D836B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2A2061-D899-4F7D-868D-D69893A11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096A4C-0F25-489F-AD04-B398FFBF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6426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E17D233-2CEE-490B-9575-3BEFE3E44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4687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BB56F9-1349-4DDF-86C8-BE4509A3B3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32402B-A840-4124-9D32-EB6FCF448D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AC2AED-FD5B-45C2-888A-39585C9025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DB0027-57E7-4BE7-B54E-F9B1B8F18522}" type="datetimeFigureOut">
              <a:rPr lang="en-GB" smtClean="0"/>
              <a:t>27/0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E9C76-42EE-4E96-9727-21CCC6176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616E60-0AAC-4D9C-BEC6-3E2087A3B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02D241-BDEA-47B9-A830-E90FE40D54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8421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2.xml"/><Relationship Id="rId7" Type="http://schemas.openxmlformats.org/officeDocument/2006/relationships/diagramLayout" Target="../diagrams/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diagramData" Target="../diagrams/data1.xml"/><Relationship Id="rId5" Type="http://schemas.openxmlformats.org/officeDocument/2006/relationships/image" Target="../media/image2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8" name="Object 15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030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58" name="Object 15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Rectangle 15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b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293" y="-10149"/>
            <a:ext cx="9285514" cy="531473"/>
          </a:xfrm>
        </p:spPr>
        <p:txBody>
          <a:bodyPr vert="horz">
            <a:normAutofit/>
          </a:bodyPr>
          <a:lstStyle/>
          <a:p>
            <a:r>
              <a:rPr lang="en-GB" sz="1800" b="1" dirty="0"/>
              <a:t>IT Services Org </a:t>
            </a:r>
            <a:r>
              <a:rPr lang="en-GB" sz="1800" b="1"/>
              <a:t>Chart – Jan 2021</a:t>
            </a:r>
            <a:endParaRPr lang="en-GB" sz="1800" b="1" dirty="0"/>
          </a:p>
        </p:txBody>
      </p:sp>
      <p:graphicFrame>
        <p:nvGraphicFramePr>
          <p:cNvPr id="208" name="Diagram 207">
            <a:extLst>
              <a:ext uri="{FF2B5EF4-FFF2-40B4-BE49-F238E27FC236}">
                <a16:creationId xmlns:a16="http://schemas.microsoft.com/office/drawing/2014/main" id="{1F8FE78C-1F00-4016-8CCA-112CC6ACFE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8966025"/>
              </p:ext>
            </p:extLst>
          </p:nvPr>
        </p:nvGraphicFramePr>
        <p:xfrm>
          <a:off x="187849" y="41022"/>
          <a:ext cx="11828659" cy="63354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868240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WBaDW9SVqRsOY92GyY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80</Words>
  <Application>Microsoft Office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zo Sans Thin</vt:lpstr>
      <vt:lpstr>Calibri</vt:lpstr>
      <vt:lpstr>Calibri Light</vt:lpstr>
      <vt:lpstr>Wingdings</vt:lpstr>
      <vt:lpstr>Office Theme</vt:lpstr>
      <vt:lpstr>think-cell Slide</vt:lpstr>
      <vt:lpstr>IT Services Org Chart – Jan 202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Services Org Chart – Jan 2021</dc:title>
  <dc:creator>Simon Corbett</dc:creator>
  <cp:lastModifiedBy>Hannah Haselhurst</cp:lastModifiedBy>
  <cp:revision>2</cp:revision>
  <dcterms:created xsi:type="dcterms:W3CDTF">2021-01-26T17:35:29Z</dcterms:created>
  <dcterms:modified xsi:type="dcterms:W3CDTF">2021-01-27T07:14:55Z</dcterms:modified>
</cp:coreProperties>
</file>